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sldIdLst>
    <p:sldId id="256" r:id="rId2"/>
    <p:sldId id="257" r:id="rId3"/>
    <p:sldId id="268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7" r:id="rId12"/>
    <p:sldId id="266" r:id="rId13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CB7F8"/>
    <a:srgbClr val="60AAFC"/>
    <a:srgbClr val="4B94E5"/>
    <a:srgbClr val="4BE582"/>
    <a:srgbClr val="60FC98"/>
    <a:srgbClr val="7CF8A8"/>
    <a:srgbClr val="4BE5DE"/>
    <a:srgbClr val="60FCF5"/>
    <a:srgbClr val="7CF8F2"/>
    <a:srgbClr val="9C9C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84" d="100"/>
          <a:sy n="84" d="100"/>
        </p:scale>
        <p:origin x="538" y="8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FC471A5-7D6C-4E30-9210-A7910A823C5C}" type="doc">
      <dgm:prSet loTypeId="urn:microsoft.com/office/officeart/2005/8/layout/hierarchy2" loCatId="hierarchy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AA49E104-D646-41F7-B58B-39A4CEDCE5E0}">
      <dgm:prSet phldrT="[Text]"/>
      <dgm:spPr/>
      <dgm:t>
        <a:bodyPr/>
        <a:lstStyle/>
        <a:p>
          <a:r>
            <a:rPr lang="de-DE" b="1" dirty="0" err="1" smtClean="0"/>
            <a:t>vimrg</a:t>
          </a:r>
          <a:r>
            <a:rPr lang="de-DE" b="1" dirty="0" smtClean="0"/>
            <a:t>:</a:t>
          </a:r>
        </a:p>
        <a:p>
          <a:r>
            <a:rPr lang="de-DE" dirty="0" err="1" smtClean="0"/>
            <a:t>Overspanning</a:t>
          </a:r>
          <a:r>
            <a:rPr lang="de-DE" dirty="0" smtClean="0"/>
            <a:t/>
          </a:r>
          <a:br>
            <a:rPr lang="de-DE" dirty="0" smtClean="0"/>
          </a:br>
          <a:r>
            <a:rPr lang="de-DE" dirty="0" err="1" smtClean="0"/>
            <a:t>user</a:t>
          </a:r>
          <a:r>
            <a:rPr lang="de-DE" dirty="0" smtClean="0"/>
            <a:t> </a:t>
          </a:r>
          <a:r>
            <a:rPr lang="de-DE" dirty="0" err="1" smtClean="0"/>
            <a:t>interface</a:t>
          </a:r>
          <a:endParaRPr lang="de-DE" dirty="0"/>
        </a:p>
      </dgm:t>
    </dgm:pt>
    <dgm:pt modelId="{A72758A3-1976-4375-A4ED-42EE01855F8B}" type="parTrans" cxnId="{9FB1B8BA-70FE-4C07-9FD3-CC7B6E5D9856}">
      <dgm:prSet/>
      <dgm:spPr/>
      <dgm:t>
        <a:bodyPr/>
        <a:lstStyle/>
        <a:p>
          <a:endParaRPr lang="de-DE"/>
        </a:p>
      </dgm:t>
    </dgm:pt>
    <dgm:pt modelId="{C6D37E70-44B9-44E8-A1AA-AA93385DA7EF}" type="sibTrans" cxnId="{9FB1B8BA-70FE-4C07-9FD3-CC7B6E5D9856}">
      <dgm:prSet/>
      <dgm:spPr/>
      <dgm:t>
        <a:bodyPr/>
        <a:lstStyle/>
        <a:p>
          <a:endParaRPr lang="de-DE"/>
        </a:p>
      </dgm:t>
    </dgm:pt>
    <dgm:pt modelId="{1D515B04-C21E-42E2-9170-D7E7AA2FA328}">
      <dgm:prSet phldrT="[Text]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de-DE" b="1" dirty="0" err="1" smtClean="0">
              <a:solidFill>
                <a:sysClr val="windowText" lastClr="000000"/>
              </a:solidFill>
            </a:rPr>
            <a:t>vilib</a:t>
          </a:r>
          <a:r>
            <a:rPr lang="de-DE" b="1" dirty="0" smtClean="0">
              <a:solidFill>
                <a:sysClr val="windowText" lastClr="000000"/>
              </a:solidFill>
            </a:rPr>
            <a:t>:</a:t>
          </a:r>
          <a:r>
            <a:rPr lang="de-DE" dirty="0" smtClean="0">
              <a:solidFill>
                <a:sysClr val="windowText" lastClr="000000"/>
              </a:solidFill>
            </a:rPr>
            <a:t/>
          </a:r>
          <a:br>
            <a:rPr lang="de-DE" dirty="0" smtClean="0">
              <a:solidFill>
                <a:sysClr val="windowText" lastClr="000000"/>
              </a:solidFill>
            </a:rPr>
          </a:br>
          <a:r>
            <a:rPr lang="de-DE" dirty="0" err="1" smtClean="0">
              <a:solidFill>
                <a:sysClr val="windowText" lastClr="000000"/>
              </a:solidFill>
            </a:rPr>
            <a:t>Shared</a:t>
          </a:r>
          <a:r>
            <a:rPr lang="de-DE" dirty="0" smtClean="0">
              <a:solidFill>
                <a:sysClr val="windowText" lastClr="000000"/>
              </a:solidFill>
            </a:rPr>
            <a:t> </a:t>
          </a:r>
          <a:r>
            <a:rPr lang="de-DE" dirty="0" err="1" smtClean="0">
              <a:solidFill>
                <a:sysClr val="windowText" lastClr="000000"/>
              </a:solidFill>
            </a:rPr>
            <a:t>library</a:t>
          </a:r>
          <a:endParaRPr lang="de-DE" dirty="0">
            <a:solidFill>
              <a:sysClr val="windowText" lastClr="000000"/>
            </a:solidFill>
          </a:endParaRPr>
        </a:p>
      </dgm:t>
    </dgm:pt>
    <dgm:pt modelId="{A61CF587-480D-4434-B2D2-E9435959701B}" type="parTrans" cxnId="{C835793C-6AEC-4BF5-884D-1DACE38EB1DE}">
      <dgm:prSet/>
      <dgm:spPr>
        <a:ln w="28575"/>
      </dgm:spPr>
      <dgm:t>
        <a:bodyPr/>
        <a:lstStyle/>
        <a:p>
          <a:endParaRPr lang="de-DE"/>
        </a:p>
      </dgm:t>
    </dgm:pt>
    <dgm:pt modelId="{AA59E8AD-034C-4DDE-B2D6-969912303D22}" type="sibTrans" cxnId="{C835793C-6AEC-4BF5-884D-1DACE38EB1DE}">
      <dgm:prSet/>
      <dgm:spPr/>
      <dgm:t>
        <a:bodyPr/>
        <a:lstStyle/>
        <a:p>
          <a:endParaRPr lang="de-DE"/>
        </a:p>
      </dgm:t>
    </dgm:pt>
    <dgm:pt modelId="{488F98EA-2587-48FD-A33F-F9322504BCFB}">
      <dgm:prSet phldrT="[Text]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de-DE" b="1" dirty="0" err="1" smtClean="0"/>
            <a:t>vicli</a:t>
          </a:r>
          <a:r>
            <a:rPr lang="de-DE" b="1" dirty="0" smtClean="0"/>
            <a:t>:</a:t>
          </a:r>
          <a:r>
            <a:rPr lang="de-DE" dirty="0" smtClean="0"/>
            <a:t/>
          </a:r>
          <a:br>
            <a:rPr lang="de-DE" dirty="0" smtClean="0"/>
          </a:br>
          <a:r>
            <a:rPr lang="de-DE" dirty="0" smtClean="0"/>
            <a:t>User </a:t>
          </a:r>
          <a:r>
            <a:rPr lang="de-DE" dirty="0" err="1" smtClean="0"/>
            <a:t>interface</a:t>
          </a:r>
          <a:r>
            <a:rPr lang="de-DE" dirty="0" smtClean="0"/>
            <a:t/>
          </a:r>
          <a:br>
            <a:rPr lang="de-DE" dirty="0" smtClean="0"/>
          </a:br>
          <a:r>
            <a:rPr lang="de-DE" dirty="0" err="1" smtClean="0"/>
            <a:t>for</a:t>
          </a:r>
          <a:r>
            <a:rPr lang="de-DE" dirty="0" smtClean="0"/>
            <a:t> </a:t>
          </a:r>
          <a:r>
            <a:rPr lang="de-DE" dirty="0" err="1" smtClean="0"/>
            <a:t>slow</a:t>
          </a:r>
          <a:r>
            <a:rPr lang="de-DE" dirty="0" smtClean="0"/>
            <a:t> </a:t>
          </a:r>
          <a:r>
            <a:rPr lang="de-DE" dirty="0" err="1" smtClean="0"/>
            <a:t>control</a:t>
          </a:r>
          <a:endParaRPr lang="de-DE" dirty="0"/>
        </a:p>
      </dgm:t>
    </dgm:pt>
    <dgm:pt modelId="{E1504FCA-E4C8-4695-870F-740438C0B42A}" type="parTrans" cxnId="{25A71578-293A-4B6F-88E9-549E4EE4621A}">
      <dgm:prSet/>
      <dgm:spPr>
        <a:ln w="28575"/>
      </dgm:spPr>
      <dgm:t>
        <a:bodyPr/>
        <a:lstStyle/>
        <a:p>
          <a:endParaRPr lang="de-DE"/>
        </a:p>
      </dgm:t>
    </dgm:pt>
    <dgm:pt modelId="{A4121297-28DA-4446-90A0-44DA4D608282}" type="sibTrans" cxnId="{25A71578-293A-4B6F-88E9-549E4EE4621A}">
      <dgm:prSet/>
      <dgm:spPr/>
      <dgm:t>
        <a:bodyPr/>
        <a:lstStyle/>
        <a:p>
          <a:endParaRPr lang="de-DE"/>
        </a:p>
      </dgm:t>
    </dgm:pt>
    <dgm:pt modelId="{A599ACF9-144D-4C84-B299-396F2740D703}">
      <dgm:prSet phldrT="[Text]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de-DE" b="1" dirty="0" err="1" smtClean="0">
              <a:solidFill>
                <a:sysClr val="windowText" lastClr="000000"/>
              </a:solidFill>
            </a:rPr>
            <a:t>vasic</a:t>
          </a:r>
          <a:r>
            <a:rPr lang="de-DE" b="1" dirty="0" smtClean="0">
              <a:solidFill>
                <a:sysClr val="windowText" lastClr="000000"/>
              </a:solidFill>
            </a:rPr>
            <a:t>:</a:t>
          </a:r>
          <a:r>
            <a:rPr lang="de-DE" dirty="0" smtClean="0">
              <a:solidFill>
                <a:sysClr val="windowText" lastClr="000000"/>
              </a:solidFill>
            </a:rPr>
            <a:t/>
          </a:r>
          <a:br>
            <a:rPr lang="de-DE" dirty="0" smtClean="0">
              <a:solidFill>
                <a:sysClr val="windowText" lastClr="000000"/>
              </a:solidFill>
            </a:rPr>
          </a:br>
          <a:r>
            <a:rPr lang="de-DE" dirty="0" smtClean="0">
              <a:solidFill>
                <a:sysClr val="windowText" lastClr="000000"/>
              </a:solidFill>
            </a:rPr>
            <a:t>User </a:t>
          </a:r>
          <a:r>
            <a:rPr lang="de-DE" dirty="0" err="1" smtClean="0">
              <a:solidFill>
                <a:sysClr val="windowText" lastClr="000000"/>
              </a:solidFill>
            </a:rPr>
            <a:t>interface</a:t>
          </a:r>
          <a:r>
            <a:rPr lang="de-DE" dirty="0" smtClean="0">
              <a:solidFill>
                <a:sysClr val="windowText" lastClr="000000"/>
              </a:solidFill>
            </a:rPr>
            <a:t> </a:t>
          </a:r>
          <a:r>
            <a:rPr lang="de-DE" dirty="0" err="1" smtClean="0">
              <a:solidFill>
                <a:sysClr val="windowText" lastClr="000000"/>
              </a:solidFill>
            </a:rPr>
            <a:t>for</a:t>
          </a:r>
          <a:r>
            <a:rPr lang="de-DE" dirty="0" smtClean="0">
              <a:solidFill>
                <a:sysClr val="windowText" lastClr="000000"/>
              </a:solidFill>
            </a:rPr>
            <a:t/>
          </a:r>
          <a:br>
            <a:rPr lang="de-DE" dirty="0" smtClean="0">
              <a:solidFill>
                <a:sysClr val="windowText" lastClr="000000"/>
              </a:solidFill>
            </a:rPr>
          </a:br>
          <a:r>
            <a:rPr lang="de-DE" dirty="0" smtClean="0">
              <a:solidFill>
                <a:sysClr val="windowText" lastClr="000000"/>
              </a:solidFill>
            </a:rPr>
            <a:t>ASIC </a:t>
          </a:r>
          <a:r>
            <a:rPr lang="de-DE" dirty="0" err="1" smtClean="0">
              <a:solidFill>
                <a:sysClr val="windowText" lastClr="000000"/>
              </a:solidFill>
            </a:rPr>
            <a:t>control</a:t>
          </a:r>
          <a:endParaRPr lang="de-DE" dirty="0">
            <a:solidFill>
              <a:sysClr val="windowText" lastClr="000000"/>
            </a:solidFill>
          </a:endParaRPr>
        </a:p>
      </dgm:t>
    </dgm:pt>
    <dgm:pt modelId="{46EEDE8B-5DFA-4DB3-805A-1FBACCCA75F2}" type="parTrans" cxnId="{5521158E-8DEE-452F-9520-7E295A1171F4}">
      <dgm:prSet/>
      <dgm:spPr>
        <a:ln w="28575"/>
      </dgm:spPr>
      <dgm:t>
        <a:bodyPr/>
        <a:lstStyle/>
        <a:p>
          <a:endParaRPr lang="de-DE"/>
        </a:p>
      </dgm:t>
    </dgm:pt>
    <dgm:pt modelId="{B8012616-2EAD-4E7F-8CFD-4F0E7D5BF6E5}" type="sibTrans" cxnId="{5521158E-8DEE-452F-9520-7E295A1171F4}">
      <dgm:prSet/>
      <dgm:spPr/>
      <dgm:t>
        <a:bodyPr/>
        <a:lstStyle/>
        <a:p>
          <a:endParaRPr lang="de-DE"/>
        </a:p>
      </dgm:t>
    </dgm:pt>
    <dgm:pt modelId="{6FD74E85-D483-4A3D-8624-04F4459A9776}">
      <dgm:prSet phldrT="[Text]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de-DE" b="1" dirty="0" err="1" smtClean="0">
              <a:solidFill>
                <a:sysClr val="windowText" lastClr="000000"/>
              </a:solidFill>
            </a:rPr>
            <a:t>vilib</a:t>
          </a:r>
          <a:r>
            <a:rPr lang="de-DE" b="1" dirty="0" smtClean="0">
              <a:solidFill>
                <a:sysClr val="windowText" lastClr="000000"/>
              </a:solidFill>
            </a:rPr>
            <a:t>:</a:t>
          </a:r>
          <a:r>
            <a:rPr lang="de-DE" dirty="0" smtClean="0">
              <a:solidFill>
                <a:sysClr val="windowText" lastClr="000000"/>
              </a:solidFill>
            </a:rPr>
            <a:t/>
          </a:r>
          <a:br>
            <a:rPr lang="de-DE" dirty="0" smtClean="0">
              <a:solidFill>
                <a:sysClr val="windowText" lastClr="000000"/>
              </a:solidFill>
            </a:rPr>
          </a:br>
          <a:r>
            <a:rPr lang="de-DE" dirty="0" err="1" smtClean="0">
              <a:solidFill>
                <a:sysClr val="windowText" lastClr="000000"/>
              </a:solidFill>
            </a:rPr>
            <a:t>Shared</a:t>
          </a:r>
          <a:r>
            <a:rPr lang="de-DE" dirty="0" smtClean="0">
              <a:solidFill>
                <a:sysClr val="windowText" lastClr="000000"/>
              </a:solidFill>
            </a:rPr>
            <a:t> </a:t>
          </a:r>
          <a:r>
            <a:rPr lang="de-DE" dirty="0" err="1" smtClean="0">
              <a:solidFill>
                <a:sysClr val="windowText" lastClr="000000"/>
              </a:solidFill>
            </a:rPr>
            <a:t>library</a:t>
          </a:r>
          <a:endParaRPr lang="de-DE" dirty="0">
            <a:solidFill>
              <a:sysClr val="windowText" lastClr="000000"/>
            </a:solidFill>
          </a:endParaRPr>
        </a:p>
      </dgm:t>
    </dgm:pt>
    <dgm:pt modelId="{A9E610CB-0443-44CF-9C0B-57310250ACF6}" type="parTrans" cxnId="{518A5645-1986-4635-A76B-9AB5A39E2267}">
      <dgm:prSet/>
      <dgm:spPr>
        <a:ln w="28575"/>
      </dgm:spPr>
      <dgm:t>
        <a:bodyPr/>
        <a:lstStyle/>
        <a:p>
          <a:endParaRPr lang="de-DE"/>
        </a:p>
      </dgm:t>
    </dgm:pt>
    <dgm:pt modelId="{05936427-9857-4D4E-847C-D25EC42522F7}" type="sibTrans" cxnId="{518A5645-1986-4635-A76B-9AB5A39E2267}">
      <dgm:prSet/>
      <dgm:spPr/>
      <dgm:t>
        <a:bodyPr/>
        <a:lstStyle/>
        <a:p>
          <a:endParaRPr lang="de-DE"/>
        </a:p>
      </dgm:t>
    </dgm:pt>
    <dgm:pt modelId="{00886774-08E9-4123-8A79-7EB87F733339}">
      <dgm:prSet phldrT="[Text]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de-DE" b="1" dirty="0" err="1" smtClean="0">
              <a:solidFill>
                <a:sysClr val="windowText" lastClr="000000"/>
              </a:solidFill>
            </a:rPr>
            <a:t>vilib</a:t>
          </a:r>
          <a:r>
            <a:rPr lang="de-DE" b="1" dirty="0" smtClean="0">
              <a:solidFill>
                <a:sysClr val="windowText" lastClr="000000"/>
              </a:solidFill>
            </a:rPr>
            <a:t>:</a:t>
          </a:r>
          <a:r>
            <a:rPr lang="de-DE" dirty="0" smtClean="0">
              <a:solidFill>
                <a:sysClr val="windowText" lastClr="000000"/>
              </a:solidFill>
            </a:rPr>
            <a:t/>
          </a:r>
          <a:br>
            <a:rPr lang="de-DE" dirty="0" smtClean="0">
              <a:solidFill>
                <a:sysClr val="windowText" lastClr="000000"/>
              </a:solidFill>
            </a:rPr>
          </a:br>
          <a:r>
            <a:rPr lang="de-DE" dirty="0" err="1" smtClean="0">
              <a:solidFill>
                <a:sysClr val="windowText" lastClr="000000"/>
              </a:solidFill>
            </a:rPr>
            <a:t>Shared</a:t>
          </a:r>
          <a:r>
            <a:rPr lang="de-DE" dirty="0" smtClean="0">
              <a:solidFill>
                <a:sysClr val="windowText" lastClr="000000"/>
              </a:solidFill>
            </a:rPr>
            <a:t> </a:t>
          </a:r>
          <a:r>
            <a:rPr lang="de-DE" dirty="0" err="1" smtClean="0">
              <a:solidFill>
                <a:sysClr val="windowText" lastClr="000000"/>
              </a:solidFill>
            </a:rPr>
            <a:t>library</a:t>
          </a:r>
          <a:endParaRPr lang="de-DE" dirty="0">
            <a:solidFill>
              <a:sysClr val="windowText" lastClr="000000"/>
            </a:solidFill>
          </a:endParaRPr>
        </a:p>
      </dgm:t>
    </dgm:pt>
    <dgm:pt modelId="{C4361C04-BB78-4B9B-8D59-98F34D9FF557}" type="parTrans" cxnId="{084D2C4A-8D04-41F1-A04B-CA48EF721591}">
      <dgm:prSet/>
      <dgm:spPr>
        <a:ln w="28575"/>
      </dgm:spPr>
      <dgm:t>
        <a:bodyPr/>
        <a:lstStyle/>
        <a:p>
          <a:endParaRPr lang="de-DE"/>
        </a:p>
      </dgm:t>
    </dgm:pt>
    <dgm:pt modelId="{BB9BC8CB-70E9-4E21-87A2-78E118889839}" type="sibTrans" cxnId="{084D2C4A-8D04-41F1-A04B-CA48EF721591}">
      <dgm:prSet/>
      <dgm:spPr/>
      <dgm:t>
        <a:bodyPr/>
        <a:lstStyle/>
        <a:p>
          <a:endParaRPr lang="de-DE"/>
        </a:p>
      </dgm:t>
    </dgm:pt>
    <dgm:pt modelId="{90BAB178-BBDB-4403-A169-A2FA026932A4}">
      <dgm:prSet phldrT="[Text]">
        <dgm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de-DE" b="1" dirty="0" err="1" smtClean="0"/>
            <a:t>visrv</a:t>
          </a:r>
          <a:r>
            <a:rPr lang="de-DE" b="1" dirty="0" smtClean="0"/>
            <a:t>:</a:t>
          </a:r>
          <a:r>
            <a:rPr lang="de-DE" dirty="0" smtClean="0"/>
            <a:t/>
          </a:r>
          <a:br>
            <a:rPr lang="de-DE" dirty="0" smtClean="0"/>
          </a:br>
          <a:r>
            <a:rPr lang="de-DE" dirty="0" smtClean="0"/>
            <a:t>Server </a:t>
          </a:r>
          <a:r>
            <a:rPr lang="de-DE" dirty="0" err="1" smtClean="0"/>
            <a:t>for</a:t>
          </a:r>
          <a:r>
            <a:rPr lang="de-DE" dirty="0" smtClean="0"/>
            <a:t> </a:t>
          </a:r>
          <a:r>
            <a:rPr lang="de-DE" dirty="0" err="1" smtClean="0"/>
            <a:t>actual</a:t>
          </a:r>
          <a:r>
            <a:rPr lang="de-DE" dirty="0" smtClean="0"/>
            <a:t> </a:t>
          </a:r>
          <a:r>
            <a:rPr lang="de-DE" dirty="0" err="1" smtClean="0"/>
            <a:t>slow</a:t>
          </a:r>
          <a:r>
            <a:rPr lang="de-DE" dirty="0" smtClean="0"/>
            <a:t> </a:t>
          </a:r>
          <a:r>
            <a:rPr lang="de-DE" dirty="0" err="1" smtClean="0"/>
            <a:t>control</a:t>
          </a:r>
          <a:endParaRPr lang="de-DE" dirty="0"/>
        </a:p>
      </dgm:t>
    </dgm:pt>
    <dgm:pt modelId="{93675B31-2C93-43B2-BDB6-0059B61CA422}" type="parTrans" cxnId="{3D083EE1-D3E2-494C-B922-7DD2EDD7051B}">
      <dgm:prSet/>
      <dgm:spPr>
        <a:ln w="28575"/>
      </dgm:spPr>
      <dgm:t>
        <a:bodyPr/>
        <a:lstStyle/>
        <a:p>
          <a:endParaRPr lang="de-DE"/>
        </a:p>
      </dgm:t>
    </dgm:pt>
    <dgm:pt modelId="{CCDD5239-F44A-4D1F-978F-397FA3708F23}" type="sibTrans" cxnId="{3D083EE1-D3E2-494C-B922-7DD2EDD7051B}">
      <dgm:prSet/>
      <dgm:spPr/>
      <dgm:t>
        <a:bodyPr/>
        <a:lstStyle/>
        <a:p>
          <a:endParaRPr lang="de-DE"/>
        </a:p>
      </dgm:t>
    </dgm:pt>
    <dgm:pt modelId="{E8254884-8EA2-4EFC-B947-0750E78F8904}">
      <dgm:prSet phldrT="[Text]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de-DE" b="1" dirty="0" smtClean="0">
              <a:solidFill>
                <a:sysClr val="windowText" lastClr="000000"/>
              </a:solidFill>
            </a:rPr>
            <a:t>xu1_cfg_sh:</a:t>
          </a:r>
          <a:r>
            <a:rPr lang="de-DE" dirty="0" smtClean="0">
              <a:solidFill>
                <a:sysClr val="windowText" lastClr="000000"/>
              </a:solidFill>
            </a:rPr>
            <a:t/>
          </a:r>
          <a:br>
            <a:rPr lang="de-DE" dirty="0" smtClean="0">
              <a:solidFill>
                <a:sysClr val="windowText" lastClr="000000"/>
              </a:solidFill>
            </a:rPr>
          </a:br>
          <a:r>
            <a:rPr lang="de-DE" dirty="0" smtClean="0">
              <a:solidFill>
                <a:sysClr val="windowText" lastClr="000000"/>
              </a:solidFill>
            </a:rPr>
            <a:t>XU1 </a:t>
          </a:r>
          <a:r>
            <a:rPr lang="de-DE" dirty="0" err="1" smtClean="0">
              <a:solidFill>
                <a:sysClr val="windowText" lastClr="000000"/>
              </a:solidFill>
            </a:rPr>
            <a:t>config</a:t>
          </a:r>
          <a:r>
            <a:rPr lang="de-DE" dirty="0" smtClean="0">
              <a:solidFill>
                <a:sysClr val="windowText" lastClr="000000"/>
              </a:solidFill>
            </a:rPr>
            <a:t> </a:t>
          </a:r>
          <a:r>
            <a:rPr lang="de-DE" dirty="0" err="1" smtClean="0">
              <a:solidFill>
                <a:sysClr val="windowText" lastClr="000000"/>
              </a:solidFill>
            </a:rPr>
            <a:t>scripts</a:t>
          </a:r>
          <a:endParaRPr lang="de-DE" dirty="0">
            <a:solidFill>
              <a:sysClr val="windowText" lastClr="000000"/>
            </a:solidFill>
          </a:endParaRPr>
        </a:p>
      </dgm:t>
    </dgm:pt>
    <dgm:pt modelId="{4A79DE4A-5A8D-4709-A73D-AF0AE695B7EF}" type="parTrans" cxnId="{4D8565F1-40B4-44BD-8CE4-7B4C0A29F01D}">
      <dgm:prSet/>
      <dgm:spPr>
        <a:ln w="28575"/>
      </dgm:spPr>
      <dgm:t>
        <a:bodyPr/>
        <a:lstStyle/>
        <a:p>
          <a:endParaRPr lang="de-DE"/>
        </a:p>
      </dgm:t>
    </dgm:pt>
    <dgm:pt modelId="{885E9225-9661-43B0-9A6E-5ACE55867EA9}" type="sibTrans" cxnId="{4D8565F1-40B4-44BD-8CE4-7B4C0A29F01D}">
      <dgm:prSet/>
      <dgm:spPr/>
      <dgm:t>
        <a:bodyPr/>
        <a:lstStyle/>
        <a:p>
          <a:endParaRPr lang="de-DE"/>
        </a:p>
      </dgm:t>
    </dgm:pt>
    <dgm:pt modelId="{FA6BD26D-80C2-428D-BD3E-D3079642E9D4}">
      <dgm:prSet phldrT="[Text]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de-DE" b="0" dirty="0" err="1" smtClean="0">
              <a:solidFill>
                <a:sysClr val="windowText" lastClr="000000"/>
              </a:solidFill>
            </a:rPr>
            <a:t>switcher_sequence</a:t>
          </a:r>
          <a:endParaRPr lang="de-DE" b="0" dirty="0">
            <a:solidFill>
              <a:sysClr val="windowText" lastClr="000000"/>
            </a:solidFill>
          </a:endParaRPr>
        </a:p>
      </dgm:t>
    </dgm:pt>
    <dgm:pt modelId="{BB45C34A-A5F4-4A7A-827B-305118DE6F0E}" type="parTrans" cxnId="{12A7EA7B-9D26-44AB-9C7F-D1AE00DE155A}">
      <dgm:prSet/>
      <dgm:spPr>
        <a:ln w="28575"/>
      </dgm:spPr>
      <dgm:t>
        <a:bodyPr/>
        <a:lstStyle/>
        <a:p>
          <a:endParaRPr lang="de-DE"/>
        </a:p>
      </dgm:t>
    </dgm:pt>
    <dgm:pt modelId="{316611A2-D25F-43D2-A594-585F5F4DE756}" type="sibTrans" cxnId="{12A7EA7B-9D26-44AB-9C7F-D1AE00DE155A}">
      <dgm:prSet/>
      <dgm:spPr/>
      <dgm:t>
        <a:bodyPr/>
        <a:lstStyle/>
        <a:p>
          <a:endParaRPr lang="de-DE"/>
        </a:p>
      </dgm:t>
    </dgm:pt>
    <dgm:pt modelId="{6842D594-ED47-427E-A1E0-A2E076DAA5FD}">
      <dgm:prSet phldrT="[Text]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>
        <a:gradFill rotWithShape="0">
          <a:gsLst>
            <a:gs pos="0">
              <a:srgbClr val="7CF8F2"/>
            </a:gs>
            <a:gs pos="50000">
              <a:srgbClr val="60FCF5"/>
            </a:gs>
            <a:gs pos="100000">
              <a:srgbClr val="4BE5DE"/>
            </a:gs>
          </a:gsLst>
        </a:gradFill>
      </dgm:spPr>
      <dgm:t>
        <a:bodyPr/>
        <a:lstStyle/>
        <a:p>
          <a:r>
            <a:rPr lang="de-DE" b="1" dirty="0" err="1" smtClean="0">
              <a:ln>
                <a:noFill/>
              </a:ln>
              <a:solidFill>
                <a:sysClr val="windowText" lastClr="000000"/>
              </a:solidFill>
            </a:rPr>
            <a:t>vasic_plugins</a:t>
          </a:r>
          <a:r>
            <a:rPr lang="de-DE" b="1" dirty="0" smtClean="0">
              <a:ln>
                <a:noFill/>
              </a:ln>
              <a:solidFill>
                <a:sysClr val="windowText" lastClr="000000"/>
              </a:solidFill>
            </a:rPr>
            <a:t>:</a:t>
          </a:r>
          <a:r>
            <a:rPr lang="de-DE" dirty="0" smtClean="0">
              <a:ln>
                <a:noFill/>
              </a:ln>
              <a:solidFill>
                <a:sysClr val="windowText" lastClr="000000"/>
              </a:solidFill>
            </a:rPr>
            <a:t/>
          </a:r>
          <a:br>
            <a:rPr lang="de-DE" dirty="0" smtClean="0">
              <a:ln>
                <a:noFill/>
              </a:ln>
              <a:solidFill>
                <a:sysClr val="windowText" lastClr="000000"/>
              </a:solidFill>
            </a:rPr>
          </a:br>
          <a:r>
            <a:rPr lang="de-DE" dirty="0" smtClean="0">
              <a:ln>
                <a:noFill/>
              </a:ln>
              <a:solidFill>
                <a:sysClr val="windowText" lastClr="000000"/>
              </a:solidFill>
            </a:rPr>
            <a:t>User </a:t>
          </a:r>
          <a:r>
            <a:rPr lang="de-DE" dirty="0" err="1" smtClean="0">
              <a:ln>
                <a:noFill/>
              </a:ln>
              <a:solidFill>
                <a:sysClr val="windowText" lastClr="000000"/>
              </a:solidFill>
            </a:rPr>
            <a:t>scripts</a:t>
          </a:r>
          <a:r>
            <a:rPr lang="de-DE" dirty="0" smtClean="0">
              <a:ln>
                <a:noFill/>
              </a:ln>
              <a:solidFill>
                <a:sysClr val="windowText" lastClr="000000"/>
              </a:solidFill>
            </a:rPr>
            <a:t> </a:t>
          </a:r>
          <a:r>
            <a:rPr lang="de-DE" dirty="0" err="1" smtClean="0">
              <a:ln>
                <a:noFill/>
              </a:ln>
              <a:solidFill>
                <a:sysClr val="windowText" lastClr="000000"/>
              </a:solidFill>
            </a:rPr>
            <a:t>started</a:t>
          </a:r>
          <a:r>
            <a:rPr lang="de-DE" dirty="0" smtClean="0">
              <a:ln>
                <a:noFill/>
              </a:ln>
              <a:solidFill>
                <a:sysClr val="windowText" lastClr="000000"/>
              </a:solidFill>
            </a:rPr>
            <a:t> </a:t>
          </a:r>
          <a:r>
            <a:rPr lang="de-DE" dirty="0" err="1" smtClean="0">
              <a:ln>
                <a:noFill/>
              </a:ln>
              <a:solidFill>
                <a:sysClr val="windowText" lastClr="000000"/>
              </a:solidFill>
            </a:rPr>
            <a:t>from</a:t>
          </a:r>
          <a:r>
            <a:rPr lang="de-DE" dirty="0" smtClean="0">
              <a:ln>
                <a:noFill/>
              </a:ln>
              <a:solidFill>
                <a:sysClr val="windowText" lastClr="000000"/>
              </a:solidFill>
            </a:rPr>
            <a:t> </a:t>
          </a:r>
          <a:r>
            <a:rPr lang="de-DE" dirty="0" err="1" smtClean="0">
              <a:ln>
                <a:noFill/>
              </a:ln>
              <a:solidFill>
                <a:sysClr val="windowText" lastClr="000000"/>
              </a:solidFill>
            </a:rPr>
            <a:t>the</a:t>
          </a:r>
          <a:r>
            <a:rPr lang="de-DE" dirty="0" smtClean="0">
              <a:ln>
                <a:noFill/>
              </a:ln>
              <a:solidFill>
                <a:sysClr val="windowText" lastClr="000000"/>
              </a:solidFill>
            </a:rPr>
            <a:t> GUI</a:t>
          </a:r>
          <a:endParaRPr lang="de-DE" dirty="0">
            <a:ln>
              <a:noFill/>
            </a:ln>
            <a:solidFill>
              <a:sysClr val="windowText" lastClr="000000"/>
            </a:solidFill>
          </a:endParaRPr>
        </a:p>
      </dgm:t>
    </dgm:pt>
    <dgm:pt modelId="{9CA5B2DE-C446-4AE9-9F52-C586DB249995}" type="parTrans" cxnId="{864BD163-1013-45FA-AF88-7F3BCAEC8824}">
      <dgm:prSet/>
      <dgm:spPr>
        <a:ln w="28575"/>
      </dgm:spPr>
      <dgm:t>
        <a:bodyPr/>
        <a:lstStyle/>
        <a:p>
          <a:endParaRPr lang="de-DE"/>
        </a:p>
      </dgm:t>
    </dgm:pt>
    <dgm:pt modelId="{F2F5956C-CD64-4303-A071-148B6A6CAF47}" type="sibTrans" cxnId="{864BD163-1013-45FA-AF88-7F3BCAEC8824}">
      <dgm:prSet/>
      <dgm:spPr/>
      <dgm:t>
        <a:bodyPr/>
        <a:lstStyle/>
        <a:p>
          <a:endParaRPr lang="de-DE"/>
        </a:p>
      </dgm:t>
    </dgm:pt>
    <dgm:pt modelId="{71BEC7FF-2890-47B5-889A-72442BCD5800}">
      <dgm:prSet phldrT="[Text]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 vert="vert270"/>
        <a:lstStyle/>
        <a:p>
          <a:r>
            <a:rPr lang="de-DE" b="1" dirty="0" err="1" smtClean="0">
              <a:solidFill>
                <a:sysClr val="windowText" lastClr="000000"/>
              </a:solidFill>
            </a:rPr>
            <a:t>vilib</a:t>
          </a:r>
          <a:endParaRPr lang="de-DE" dirty="0">
            <a:solidFill>
              <a:sysClr val="windowText" lastClr="000000"/>
            </a:solidFill>
          </a:endParaRPr>
        </a:p>
      </dgm:t>
    </dgm:pt>
    <dgm:pt modelId="{94014871-8949-49C8-B78A-D64A78012520}" type="parTrans" cxnId="{D38778F2-DC83-463F-B9D6-5FD1BC01E064}">
      <dgm:prSet/>
      <dgm:spPr>
        <a:ln w="28575"/>
      </dgm:spPr>
      <dgm:t>
        <a:bodyPr/>
        <a:lstStyle/>
        <a:p>
          <a:endParaRPr lang="de-DE"/>
        </a:p>
      </dgm:t>
    </dgm:pt>
    <dgm:pt modelId="{682AB9D6-1A18-4BCA-A794-4AFF9F922019}" type="sibTrans" cxnId="{D38778F2-DC83-463F-B9D6-5FD1BC01E064}">
      <dgm:prSet/>
      <dgm:spPr/>
      <dgm:t>
        <a:bodyPr/>
        <a:lstStyle/>
        <a:p>
          <a:endParaRPr lang="de-DE"/>
        </a:p>
      </dgm:t>
    </dgm:pt>
    <dgm:pt modelId="{37B1B3BA-3265-4639-AE80-58196E2F566F}">
      <dgm:prSet phldrT="[Text]"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de-DE" b="1" dirty="0" err="1" smtClean="0">
              <a:solidFill>
                <a:sysClr val="windowText" lastClr="000000"/>
              </a:solidFill>
            </a:rPr>
            <a:t>vires</a:t>
          </a:r>
          <a:r>
            <a:rPr lang="de-DE" b="1" dirty="0" smtClean="0">
              <a:solidFill>
                <a:sysClr val="windowText" lastClr="000000"/>
              </a:solidFill>
            </a:rPr>
            <a:t>:</a:t>
          </a:r>
          <a:r>
            <a:rPr lang="de-DE" dirty="0" smtClean="0">
              <a:solidFill>
                <a:sysClr val="windowText" lastClr="000000"/>
              </a:solidFill>
            </a:rPr>
            <a:t/>
          </a:r>
          <a:br>
            <a:rPr lang="de-DE" dirty="0" smtClean="0">
              <a:solidFill>
                <a:sysClr val="windowText" lastClr="000000"/>
              </a:solidFill>
            </a:rPr>
          </a:br>
          <a:r>
            <a:rPr lang="de-DE" dirty="0" smtClean="0">
              <a:solidFill>
                <a:sysClr val="windowText" lastClr="000000"/>
              </a:solidFill>
            </a:rPr>
            <a:t>Icons </a:t>
          </a:r>
          <a:r>
            <a:rPr lang="de-DE" dirty="0" err="1" smtClean="0">
              <a:solidFill>
                <a:sysClr val="windowText" lastClr="000000"/>
              </a:solidFill>
            </a:rPr>
            <a:t>and</a:t>
          </a:r>
          <a:r>
            <a:rPr lang="de-DE" dirty="0" smtClean="0">
              <a:solidFill>
                <a:sysClr val="windowText" lastClr="000000"/>
              </a:solidFill>
            </a:rPr>
            <a:t> </a:t>
          </a:r>
          <a:r>
            <a:rPr lang="de-DE" dirty="0" err="1" smtClean="0">
              <a:solidFill>
                <a:sysClr val="windowText" lastClr="000000"/>
              </a:solidFill>
            </a:rPr>
            <a:t>graphics</a:t>
          </a:r>
          <a:endParaRPr lang="de-DE" dirty="0">
            <a:solidFill>
              <a:sysClr val="windowText" lastClr="000000"/>
            </a:solidFill>
          </a:endParaRPr>
        </a:p>
      </dgm:t>
    </dgm:pt>
    <dgm:pt modelId="{E5AD24EF-B207-4EC1-9370-64BEB3DB8D45}" type="parTrans" cxnId="{CFB943F5-29D8-41BA-BF2E-82118CCAE62A}">
      <dgm:prSet/>
      <dgm:spPr>
        <a:ln w="28575"/>
      </dgm:spPr>
      <dgm:t>
        <a:bodyPr/>
        <a:lstStyle/>
        <a:p>
          <a:endParaRPr lang="de-DE"/>
        </a:p>
      </dgm:t>
    </dgm:pt>
    <dgm:pt modelId="{C2071DDA-4EEC-4F86-A8D3-72A5D468AD3C}" type="sibTrans" cxnId="{CFB943F5-29D8-41BA-BF2E-82118CCAE62A}">
      <dgm:prSet/>
      <dgm:spPr/>
      <dgm:t>
        <a:bodyPr/>
        <a:lstStyle/>
        <a:p>
          <a:endParaRPr lang="de-DE"/>
        </a:p>
      </dgm:t>
    </dgm:pt>
    <dgm:pt modelId="{66C1E9F4-0EBF-4F83-AB0A-A432A453ED25}">
      <dgm:prSet phldrT="[Text]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>
        <a:gradFill rotWithShape="0">
          <a:gsLst>
            <a:gs pos="0">
              <a:srgbClr val="7CB7F8"/>
            </a:gs>
            <a:gs pos="50000">
              <a:srgbClr val="60AAFC"/>
            </a:gs>
            <a:gs pos="100000">
              <a:srgbClr val="4B94E5"/>
            </a:gs>
          </a:gsLst>
        </a:gradFill>
      </dgm:spPr>
      <dgm:t>
        <a:bodyPr/>
        <a:lstStyle/>
        <a:p>
          <a:r>
            <a:rPr lang="de-DE" b="1" dirty="0" smtClean="0">
              <a:ln>
                <a:noFill/>
              </a:ln>
              <a:solidFill>
                <a:sysClr val="windowText" lastClr="000000"/>
              </a:solidFill>
            </a:rPr>
            <a:t>vlogv:</a:t>
          </a:r>
          <a:br>
            <a:rPr lang="de-DE" b="1" dirty="0" smtClean="0">
              <a:ln>
                <a:noFill/>
              </a:ln>
              <a:solidFill>
                <a:sysClr val="windowText" lastClr="000000"/>
              </a:solidFill>
            </a:rPr>
          </a:br>
          <a:r>
            <a:rPr lang="de-DE" dirty="0" smtClean="0">
              <a:ln>
                <a:noFill/>
              </a:ln>
              <a:solidFill>
                <a:sysClr val="windowText" lastClr="000000"/>
              </a:solidFill>
            </a:rPr>
            <a:t>Log file analysis and presentation</a:t>
          </a:r>
          <a:endParaRPr lang="de-DE" dirty="0">
            <a:ln>
              <a:noFill/>
            </a:ln>
            <a:solidFill>
              <a:sysClr val="windowText" lastClr="000000"/>
            </a:solidFill>
          </a:endParaRPr>
        </a:p>
      </dgm:t>
    </dgm:pt>
    <dgm:pt modelId="{2F7D34F9-472B-4C46-82CB-077A24705855}" type="parTrans" cxnId="{70407A4D-C9BC-4836-B07D-F68C836571F9}">
      <dgm:prSet/>
      <dgm:spPr/>
      <dgm:t>
        <a:bodyPr/>
        <a:lstStyle/>
        <a:p>
          <a:endParaRPr lang="en-US"/>
        </a:p>
      </dgm:t>
    </dgm:pt>
    <dgm:pt modelId="{594EF822-647E-4AAE-ADE4-DD926C54BE5A}" type="sibTrans" cxnId="{70407A4D-C9BC-4836-B07D-F68C836571F9}">
      <dgm:prSet/>
      <dgm:spPr/>
      <dgm:t>
        <a:bodyPr/>
        <a:lstStyle/>
        <a:p>
          <a:endParaRPr lang="en-US"/>
        </a:p>
      </dgm:t>
    </dgm:pt>
    <dgm:pt modelId="{057EB9E2-5320-417D-A3F9-BEF49BC43DAB}">
      <dgm:prSet phldrT="[Text]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>
        <a:gradFill rotWithShape="0">
          <a:gsLst>
            <a:gs pos="0">
              <a:srgbClr val="B9B9B9"/>
            </a:gs>
            <a:gs pos="50000">
              <a:srgbClr val="B0B0B0"/>
            </a:gs>
            <a:gs pos="100000">
              <a:srgbClr val="9C9C9C"/>
            </a:gs>
          </a:gsLst>
        </a:gradFill>
      </dgm:spPr>
      <dgm:t>
        <a:bodyPr/>
        <a:lstStyle/>
        <a:p>
          <a:r>
            <a:rPr lang="de-DE" b="1" dirty="0" smtClean="0">
              <a:ln>
                <a:noFill/>
              </a:ln>
              <a:solidFill>
                <a:sysClr val="windowText" lastClr="000000"/>
              </a:solidFill>
            </a:rPr>
            <a:t>vinst:</a:t>
          </a:r>
          <a:r>
            <a:rPr lang="de-DE" dirty="0" smtClean="0">
              <a:ln>
                <a:noFill/>
              </a:ln>
              <a:solidFill>
                <a:sysClr val="windowText" lastClr="000000"/>
              </a:solidFill>
            </a:rPr>
            <a:t/>
          </a:r>
          <a:br>
            <a:rPr lang="de-DE" dirty="0" smtClean="0">
              <a:ln>
                <a:noFill/>
              </a:ln>
              <a:solidFill>
                <a:sysClr val="windowText" lastClr="000000"/>
              </a:solidFill>
            </a:rPr>
          </a:br>
          <a:r>
            <a:rPr lang="de-DE" dirty="0" smtClean="0">
              <a:ln>
                <a:noFill/>
              </a:ln>
              <a:solidFill>
                <a:sysClr val="windowText" lastClr="000000"/>
              </a:solidFill>
            </a:rPr>
            <a:t>Conda environment and installer</a:t>
          </a:r>
          <a:endParaRPr lang="de-DE" dirty="0">
            <a:ln>
              <a:noFill/>
            </a:ln>
            <a:solidFill>
              <a:sysClr val="windowText" lastClr="000000"/>
            </a:solidFill>
          </a:endParaRPr>
        </a:p>
      </dgm:t>
    </dgm:pt>
    <dgm:pt modelId="{93CA6030-8DA2-41F7-9D2D-BB93200B1DF8}" type="parTrans" cxnId="{299DF10A-D4AD-45C7-B14A-C276BB6EAF08}">
      <dgm:prSet/>
      <dgm:spPr/>
      <dgm:t>
        <a:bodyPr/>
        <a:lstStyle/>
        <a:p>
          <a:endParaRPr lang="en-US"/>
        </a:p>
      </dgm:t>
    </dgm:pt>
    <dgm:pt modelId="{0AC062E2-D14D-4C95-BA9A-C154874EDB33}" type="sibTrans" cxnId="{299DF10A-D4AD-45C7-B14A-C276BB6EAF08}">
      <dgm:prSet/>
      <dgm:spPr/>
      <dgm:t>
        <a:bodyPr/>
        <a:lstStyle/>
        <a:p>
          <a:endParaRPr lang="en-US"/>
        </a:p>
      </dgm:t>
    </dgm:pt>
    <dgm:pt modelId="{DEAF7669-D324-4CB7-89C8-AB0FD436B5A5}">
      <dgm:prSet phldrT="[Text]">
        <dgm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dgm:style>
      </dgm:prSet>
      <dgm:spPr>
        <a:gradFill rotWithShape="0">
          <a:gsLst>
            <a:gs pos="0">
              <a:srgbClr val="7CF8A8"/>
            </a:gs>
            <a:gs pos="50000">
              <a:srgbClr val="60FC98"/>
            </a:gs>
            <a:gs pos="100000">
              <a:srgbClr val="4BE582"/>
            </a:gs>
          </a:gsLst>
        </a:gradFill>
      </dgm:spPr>
      <dgm:t>
        <a:bodyPr/>
        <a:lstStyle/>
        <a:p>
          <a:r>
            <a:rPr lang="de-DE" b="1" dirty="0" smtClean="0">
              <a:ln>
                <a:noFill/>
              </a:ln>
              <a:solidFill>
                <a:sysClr val="windowText" lastClr="000000"/>
              </a:solidFill>
            </a:rPr>
            <a:t>vidoc:</a:t>
          </a:r>
          <a:r>
            <a:rPr lang="de-DE" dirty="0" smtClean="0">
              <a:ln>
                <a:noFill/>
              </a:ln>
              <a:solidFill>
                <a:sysClr val="windowText" lastClr="000000"/>
              </a:solidFill>
            </a:rPr>
            <a:t/>
          </a:r>
          <a:br>
            <a:rPr lang="de-DE" dirty="0" smtClean="0">
              <a:ln>
                <a:noFill/>
              </a:ln>
              <a:solidFill>
                <a:sysClr val="windowText" lastClr="000000"/>
              </a:solidFill>
            </a:rPr>
          </a:br>
          <a:r>
            <a:rPr lang="de-DE" dirty="0" smtClean="0">
              <a:ln>
                <a:noFill/>
              </a:ln>
              <a:solidFill>
                <a:sysClr val="windowText" lastClr="000000"/>
              </a:solidFill>
            </a:rPr>
            <a:t>Documentation framework</a:t>
          </a:r>
          <a:endParaRPr lang="de-DE" dirty="0">
            <a:ln>
              <a:noFill/>
            </a:ln>
            <a:solidFill>
              <a:sysClr val="windowText" lastClr="000000"/>
            </a:solidFill>
          </a:endParaRPr>
        </a:p>
      </dgm:t>
    </dgm:pt>
    <dgm:pt modelId="{58856660-BEF8-4A7D-BA04-571DE1C1E6CB}" type="parTrans" cxnId="{A9A242AB-DCC7-4889-8F18-CC1FD4EAA23C}">
      <dgm:prSet/>
      <dgm:spPr/>
      <dgm:t>
        <a:bodyPr/>
        <a:lstStyle/>
        <a:p>
          <a:endParaRPr lang="en-US"/>
        </a:p>
      </dgm:t>
    </dgm:pt>
    <dgm:pt modelId="{17942BB4-9C2A-47B0-B1C1-2B5856FE86DF}" type="sibTrans" cxnId="{A9A242AB-DCC7-4889-8F18-CC1FD4EAA23C}">
      <dgm:prSet/>
      <dgm:spPr/>
      <dgm:t>
        <a:bodyPr/>
        <a:lstStyle/>
        <a:p>
          <a:endParaRPr lang="en-US"/>
        </a:p>
      </dgm:t>
    </dgm:pt>
    <dgm:pt modelId="{267F5012-FD7E-468A-A331-E4A20019B148}">
      <dgm:prSet phldrT="[Text]">
        <dgm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de-DE" b="1" smtClean="0">
              <a:solidFill>
                <a:sysClr val="windowText" lastClr="000000"/>
              </a:solidFill>
            </a:rPr>
            <a:t>vilib:</a:t>
          </a:r>
          <a:r>
            <a:rPr lang="de-DE" smtClean="0">
              <a:solidFill>
                <a:sysClr val="windowText" lastClr="000000"/>
              </a:solidFill>
            </a:rPr>
            <a:t/>
          </a:r>
          <a:br>
            <a:rPr lang="de-DE" smtClean="0">
              <a:solidFill>
                <a:sysClr val="windowText" lastClr="000000"/>
              </a:solidFill>
            </a:rPr>
          </a:br>
          <a:r>
            <a:rPr lang="de-DE" smtClean="0">
              <a:solidFill>
                <a:sysClr val="windowText" lastClr="000000"/>
              </a:solidFill>
            </a:rPr>
            <a:t>Shared library</a:t>
          </a:r>
          <a:endParaRPr lang="de-DE" dirty="0">
            <a:ln>
              <a:noFill/>
            </a:ln>
            <a:solidFill>
              <a:sysClr val="windowText" lastClr="000000"/>
            </a:solidFill>
          </a:endParaRPr>
        </a:p>
      </dgm:t>
    </dgm:pt>
    <dgm:pt modelId="{879FB128-AA3D-43D0-AD94-53905881E1C7}" type="parTrans" cxnId="{40B17A7A-E733-47E6-A3D1-4DB6EC5D6491}">
      <dgm:prSet>
        <dgm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dgm:style>
      </dgm:prSet>
      <dgm:spPr>
        <a:ln w="28575"/>
      </dgm:spPr>
      <dgm:t>
        <a:bodyPr/>
        <a:lstStyle/>
        <a:p>
          <a:endParaRPr lang="en-US" dirty="0"/>
        </a:p>
      </dgm:t>
    </dgm:pt>
    <dgm:pt modelId="{A2374133-394F-4A8D-9951-267FBDED32BF}" type="sibTrans" cxnId="{40B17A7A-E733-47E6-A3D1-4DB6EC5D6491}">
      <dgm:prSet/>
      <dgm:spPr/>
      <dgm:t>
        <a:bodyPr/>
        <a:lstStyle/>
        <a:p>
          <a:endParaRPr lang="en-US"/>
        </a:p>
      </dgm:t>
    </dgm:pt>
    <dgm:pt modelId="{02AAFD45-72FD-484F-AD1F-284AAC002892}" type="pres">
      <dgm:prSet presAssocID="{DFC471A5-7D6C-4E30-9210-A7910A823C5C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1153ABDB-EDF9-494E-8D71-021EA9281B75}" type="pres">
      <dgm:prSet presAssocID="{057EB9E2-5320-417D-A3F9-BEF49BC43DAB}" presName="root1" presStyleCnt="0"/>
      <dgm:spPr/>
    </dgm:pt>
    <dgm:pt modelId="{BBFA62CD-35FD-4B1F-AE75-78A3B75732AB}" type="pres">
      <dgm:prSet presAssocID="{057EB9E2-5320-417D-A3F9-BEF49BC43DAB}" presName="LevelOneTextNode" presStyleLbl="node0" presStyleIdx="0" presStyleCnt="4" custLinFactY="-217667" custLinFactNeighborY="-3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1761BE2A-647F-4C7D-B4E0-CE7CCB3089CB}" type="pres">
      <dgm:prSet presAssocID="{057EB9E2-5320-417D-A3F9-BEF49BC43DAB}" presName="level2hierChild" presStyleCnt="0"/>
      <dgm:spPr/>
    </dgm:pt>
    <dgm:pt modelId="{BA45E173-508E-4D05-B82A-B7F53B1356FC}" type="pres">
      <dgm:prSet presAssocID="{AA49E104-D646-41F7-B58B-39A4CEDCE5E0}" presName="root1" presStyleCnt="0"/>
      <dgm:spPr/>
    </dgm:pt>
    <dgm:pt modelId="{B7BDA79A-C414-4C6E-8004-BA9A988FF82B}" type="pres">
      <dgm:prSet presAssocID="{AA49E104-D646-41F7-B58B-39A4CEDCE5E0}" presName="LevelOneTextNode" presStyleLbl="node0" presStyleIdx="1" presStyleCnt="4" custLinFactNeighborY="-5719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12775AD6-9158-45B1-A483-153F87A2C349}" type="pres">
      <dgm:prSet presAssocID="{AA49E104-D646-41F7-B58B-39A4CEDCE5E0}" presName="level2hierChild" presStyleCnt="0"/>
      <dgm:spPr/>
    </dgm:pt>
    <dgm:pt modelId="{904108CE-50A0-4FEA-95A1-63972222CB37}" type="pres">
      <dgm:prSet presAssocID="{A61CF587-480D-4434-B2D2-E9435959701B}" presName="conn2-1" presStyleLbl="parChTrans1D2" presStyleIdx="0" presStyleCnt="5"/>
      <dgm:spPr/>
      <dgm:t>
        <a:bodyPr/>
        <a:lstStyle/>
        <a:p>
          <a:endParaRPr lang="de-DE"/>
        </a:p>
      </dgm:t>
    </dgm:pt>
    <dgm:pt modelId="{3C020653-7F73-4831-96A4-F775B7BE71E8}" type="pres">
      <dgm:prSet presAssocID="{A61CF587-480D-4434-B2D2-E9435959701B}" presName="connTx" presStyleLbl="parChTrans1D2" presStyleIdx="0" presStyleCnt="5"/>
      <dgm:spPr/>
      <dgm:t>
        <a:bodyPr/>
        <a:lstStyle/>
        <a:p>
          <a:endParaRPr lang="de-DE"/>
        </a:p>
      </dgm:t>
    </dgm:pt>
    <dgm:pt modelId="{A69213C7-7C5F-4089-BAD5-4AB9A1E4E301}" type="pres">
      <dgm:prSet presAssocID="{1D515B04-C21E-42E2-9170-D7E7AA2FA328}" presName="root2" presStyleCnt="0"/>
      <dgm:spPr/>
    </dgm:pt>
    <dgm:pt modelId="{52C62817-2426-41FE-A825-9021C64D129C}" type="pres">
      <dgm:prSet presAssocID="{1D515B04-C21E-42E2-9170-D7E7AA2FA328}" presName="LevelTwoTextNode" presStyleLbl="node2" presStyleIdx="0" presStyleCnt="5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8982A189-7C0B-492E-B362-A2BC81A74878}" type="pres">
      <dgm:prSet presAssocID="{1D515B04-C21E-42E2-9170-D7E7AA2FA328}" presName="level3hierChild" presStyleCnt="0"/>
      <dgm:spPr/>
    </dgm:pt>
    <dgm:pt modelId="{47C3EF35-AD04-4B88-8B91-CDC89CA6E682}" type="pres">
      <dgm:prSet presAssocID="{E5AD24EF-B207-4EC1-9370-64BEB3DB8D45}" presName="conn2-1" presStyleLbl="parChTrans1D2" presStyleIdx="1" presStyleCnt="5"/>
      <dgm:spPr/>
      <dgm:t>
        <a:bodyPr/>
        <a:lstStyle/>
        <a:p>
          <a:endParaRPr lang="de-DE"/>
        </a:p>
      </dgm:t>
    </dgm:pt>
    <dgm:pt modelId="{8BCCCDB1-4437-42F8-AC35-9E504E577B4D}" type="pres">
      <dgm:prSet presAssocID="{E5AD24EF-B207-4EC1-9370-64BEB3DB8D45}" presName="connTx" presStyleLbl="parChTrans1D2" presStyleIdx="1" presStyleCnt="5"/>
      <dgm:spPr/>
      <dgm:t>
        <a:bodyPr/>
        <a:lstStyle/>
        <a:p>
          <a:endParaRPr lang="de-DE"/>
        </a:p>
      </dgm:t>
    </dgm:pt>
    <dgm:pt modelId="{1DE782D6-1AB1-47B1-B003-0F47CA6BC604}" type="pres">
      <dgm:prSet presAssocID="{37B1B3BA-3265-4639-AE80-58196E2F566F}" presName="root2" presStyleCnt="0"/>
      <dgm:spPr/>
    </dgm:pt>
    <dgm:pt modelId="{F040D676-9CBE-435A-BDD1-21538579082D}" type="pres">
      <dgm:prSet presAssocID="{37B1B3BA-3265-4639-AE80-58196E2F566F}" presName="LevelTwoTextNode" presStyleLbl="node2" presStyleIdx="1" presStyleCnt="5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10D4C4BF-7C52-4C95-A0FF-EA6A8F4FC034}" type="pres">
      <dgm:prSet presAssocID="{37B1B3BA-3265-4639-AE80-58196E2F566F}" presName="level3hierChild" presStyleCnt="0"/>
      <dgm:spPr/>
    </dgm:pt>
    <dgm:pt modelId="{8ECB64AE-D97B-4934-B47E-A2267DE790E7}" type="pres">
      <dgm:prSet presAssocID="{E1504FCA-E4C8-4695-870F-740438C0B42A}" presName="conn2-1" presStyleLbl="parChTrans1D2" presStyleIdx="2" presStyleCnt="5"/>
      <dgm:spPr/>
      <dgm:t>
        <a:bodyPr/>
        <a:lstStyle/>
        <a:p>
          <a:endParaRPr lang="de-DE"/>
        </a:p>
      </dgm:t>
    </dgm:pt>
    <dgm:pt modelId="{D8D65DF1-8E7A-40ED-96C5-086FD4E83B70}" type="pres">
      <dgm:prSet presAssocID="{E1504FCA-E4C8-4695-870F-740438C0B42A}" presName="connTx" presStyleLbl="parChTrans1D2" presStyleIdx="2" presStyleCnt="5"/>
      <dgm:spPr/>
      <dgm:t>
        <a:bodyPr/>
        <a:lstStyle/>
        <a:p>
          <a:endParaRPr lang="de-DE"/>
        </a:p>
      </dgm:t>
    </dgm:pt>
    <dgm:pt modelId="{D78360FE-CADD-43A7-AB69-B55B91444E63}" type="pres">
      <dgm:prSet presAssocID="{488F98EA-2587-48FD-A33F-F9322504BCFB}" presName="root2" presStyleCnt="0"/>
      <dgm:spPr/>
    </dgm:pt>
    <dgm:pt modelId="{8E11EE0D-DBE7-4602-840A-6F9BE39CBBA4}" type="pres">
      <dgm:prSet presAssocID="{488F98EA-2587-48FD-A33F-F9322504BCFB}" presName="LevelTwoTextNode" presStyleLbl="node2" presStyleIdx="2" presStyleCnt="5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6713A51F-1974-4AD8-9489-3F7E9BFE24AF}" type="pres">
      <dgm:prSet presAssocID="{488F98EA-2587-48FD-A33F-F9322504BCFB}" presName="level3hierChild" presStyleCnt="0"/>
      <dgm:spPr/>
    </dgm:pt>
    <dgm:pt modelId="{3422821C-716F-473A-ABD6-C274C74A44FA}" type="pres">
      <dgm:prSet presAssocID="{A9E610CB-0443-44CF-9C0B-57310250ACF6}" presName="conn2-1" presStyleLbl="parChTrans1D3" presStyleIdx="0" presStyleCnt="6"/>
      <dgm:spPr/>
      <dgm:t>
        <a:bodyPr/>
        <a:lstStyle/>
        <a:p>
          <a:endParaRPr lang="de-DE"/>
        </a:p>
      </dgm:t>
    </dgm:pt>
    <dgm:pt modelId="{678F366C-7396-43C4-BE70-860D753DCB6D}" type="pres">
      <dgm:prSet presAssocID="{A9E610CB-0443-44CF-9C0B-57310250ACF6}" presName="connTx" presStyleLbl="parChTrans1D3" presStyleIdx="0" presStyleCnt="6"/>
      <dgm:spPr/>
      <dgm:t>
        <a:bodyPr/>
        <a:lstStyle/>
        <a:p>
          <a:endParaRPr lang="de-DE"/>
        </a:p>
      </dgm:t>
    </dgm:pt>
    <dgm:pt modelId="{ABFBB9AB-0782-4B3B-B168-D38FB85C68A9}" type="pres">
      <dgm:prSet presAssocID="{6FD74E85-D483-4A3D-8624-04F4459A9776}" presName="root2" presStyleCnt="0"/>
      <dgm:spPr/>
    </dgm:pt>
    <dgm:pt modelId="{5595C1A1-625A-4F75-9DFB-F287834D17E4}" type="pres">
      <dgm:prSet presAssocID="{6FD74E85-D483-4A3D-8624-04F4459A9776}" presName="LevelTwoTextNode" presStyleLbl="node3" presStyleIdx="0" presStyleCnt="6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3C34A2D5-FCAB-4589-B28D-E91376AA314C}" type="pres">
      <dgm:prSet presAssocID="{6FD74E85-D483-4A3D-8624-04F4459A9776}" presName="level3hierChild" presStyleCnt="0"/>
      <dgm:spPr/>
    </dgm:pt>
    <dgm:pt modelId="{82E4DCA1-DE6A-4EC7-9C41-2B999698ABA9}" type="pres">
      <dgm:prSet presAssocID="{46EEDE8B-5DFA-4DB3-805A-1FBACCCA75F2}" presName="conn2-1" presStyleLbl="parChTrans1D2" presStyleIdx="3" presStyleCnt="5"/>
      <dgm:spPr/>
      <dgm:t>
        <a:bodyPr/>
        <a:lstStyle/>
        <a:p>
          <a:endParaRPr lang="de-DE"/>
        </a:p>
      </dgm:t>
    </dgm:pt>
    <dgm:pt modelId="{149D0A5A-7F56-441D-BE68-36F6DF00092A}" type="pres">
      <dgm:prSet presAssocID="{46EEDE8B-5DFA-4DB3-805A-1FBACCCA75F2}" presName="connTx" presStyleLbl="parChTrans1D2" presStyleIdx="3" presStyleCnt="5"/>
      <dgm:spPr/>
      <dgm:t>
        <a:bodyPr/>
        <a:lstStyle/>
        <a:p>
          <a:endParaRPr lang="de-DE"/>
        </a:p>
      </dgm:t>
    </dgm:pt>
    <dgm:pt modelId="{EE9AAF72-BE7E-498E-BE13-E40EB320AD15}" type="pres">
      <dgm:prSet presAssocID="{A599ACF9-144D-4C84-B299-396F2740D703}" presName="root2" presStyleCnt="0"/>
      <dgm:spPr/>
    </dgm:pt>
    <dgm:pt modelId="{75CD177B-6BB0-4515-A2D9-90CF595CE576}" type="pres">
      <dgm:prSet presAssocID="{A599ACF9-144D-4C84-B299-396F2740D703}" presName="LevelTwoTextNode" presStyleLbl="node2" presStyleIdx="3" presStyleCnt="5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9BABF3D-5640-4F79-9C83-5D644F4BA6EC}" type="pres">
      <dgm:prSet presAssocID="{A599ACF9-144D-4C84-B299-396F2740D703}" presName="level3hierChild" presStyleCnt="0"/>
      <dgm:spPr/>
    </dgm:pt>
    <dgm:pt modelId="{FFC56C68-E547-49F5-9F9B-1F32666A69B2}" type="pres">
      <dgm:prSet presAssocID="{C4361C04-BB78-4B9B-8D59-98F34D9FF557}" presName="conn2-1" presStyleLbl="parChTrans1D3" presStyleIdx="1" presStyleCnt="6"/>
      <dgm:spPr/>
      <dgm:t>
        <a:bodyPr/>
        <a:lstStyle/>
        <a:p>
          <a:endParaRPr lang="de-DE"/>
        </a:p>
      </dgm:t>
    </dgm:pt>
    <dgm:pt modelId="{D0B75EC9-B58F-441B-AF41-CCDFB21F8DA9}" type="pres">
      <dgm:prSet presAssocID="{C4361C04-BB78-4B9B-8D59-98F34D9FF557}" presName="connTx" presStyleLbl="parChTrans1D3" presStyleIdx="1" presStyleCnt="6"/>
      <dgm:spPr/>
      <dgm:t>
        <a:bodyPr/>
        <a:lstStyle/>
        <a:p>
          <a:endParaRPr lang="de-DE"/>
        </a:p>
      </dgm:t>
    </dgm:pt>
    <dgm:pt modelId="{77487E8D-7E2C-4A22-BEC9-03C4BB32BD91}" type="pres">
      <dgm:prSet presAssocID="{00886774-08E9-4123-8A79-7EB87F733339}" presName="root2" presStyleCnt="0"/>
      <dgm:spPr/>
    </dgm:pt>
    <dgm:pt modelId="{074FF618-CC9B-4AA8-9F8E-1B2AA406987F}" type="pres">
      <dgm:prSet presAssocID="{00886774-08E9-4123-8A79-7EB87F733339}" presName="LevelTwoTextNode" presStyleLbl="node3" presStyleIdx="1" presStyleCnt="6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0F903CAC-6998-437B-B302-C659EF94BF10}" type="pres">
      <dgm:prSet presAssocID="{00886774-08E9-4123-8A79-7EB87F733339}" presName="level3hierChild" presStyleCnt="0"/>
      <dgm:spPr/>
    </dgm:pt>
    <dgm:pt modelId="{B62724A9-C854-45B7-A0DB-DDCCB3D8CD75}" type="pres">
      <dgm:prSet presAssocID="{93675B31-2C93-43B2-BDB6-0059B61CA422}" presName="conn2-1" presStyleLbl="parChTrans1D3" presStyleIdx="2" presStyleCnt="6"/>
      <dgm:spPr/>
      <dgm:t>
        <a:bodyPr/>
        <a:lstStyle/>
        <a:p>
          <a:endParaRPr lang="de-DE"/>
        </a:p>
      </dgm:t>
    </dgm:pt>
    <dgm:pt modelId="{A32ADC8C-147E-403D-AEC0-17E8C5CE7A8C}" type="pres">
      <dgm:prSet presAssocID="{93675B31-2C93-43B2-BDB6-0059B61CA422}" presName="connTx" presStyleLbl="parChTrans1D3" presStyleIdx="2" presStyleCnt="6"/>
      <dgm:spPr/>
      <dgm:t>
        <a:bodyPr/>
        <a:lstStyle/>
        <a:p>
          <a:endParaRPr lang="de-DE"/>
        </a:p>
      </dgm:t>
    </dgm:pt>
    <dgm:pt modelId="{79C2AD64-DD21-45BC-AA75-A2A0A5701166}" type="pres">
      <dgm:prSet presAssocID="{90BAB178-BBDB-4403-A169-A2FA026932A4}" presName="root2" presStyleCnt="0"/>
      <dgm:spPr/>
    </dgm:pt>
    <dgm:pt modelId="{DA874016-F828-45F5-BEAE-FE04D19EE787}" type="pres">
      <dgm:prSet presAssocID="{90BAB178-BBDB-4403-A169-A2FA026932A4}" presName="LevelTwoTextNode" presStyleLbl="node3" presStyleIdx="2" presStyleCnt="6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F3757C8-3933-4CDD-B36A-25A2449357DD}" type="pres">
      <dgm:prSet presAssocID="{90BAB178-BBDB-4403-A169-A2FA026932A4}" presName="level3hierChild" presStyleCnt="0"/>
      <dgm:spPr/>
    </dgm:pt>
    <dgm:pt modelId="{3787854E-BE45-4C28-A2A2-8B1AD1E436EA}" type="pres">
      <dgm:prSet presAssocID="{94014871-8949-49C8-B78A-D64A78012520}" presName="conn2-1" presStyleLbl="parChTrans1D4" presStyleIdx="0" presStyleCnt="1"/>
      <dgm:spPr/>
      <dgm:t>
        <a:bodyPr/>
        <a:lstStyle/>
        <a:p>
          <a:endParaRPr lang="de-DE"/>
        </a:p>
      </dgm:t>
    </dgm:pt>
    <dgm:pt modelId="{9F952855-A356-44F3-8A86-AF5A699FF71F}" type="pres">
      <dgm:prSet presAssocID="{94014871-8949-49C8-B78A-D64A78012520}" presName="connTx" presStyleLbl="parChTrans1D4" presStyleIdx="0" presStyleCnt="1"/>
      <dgm:spPr/>
      <dgm:t>
        <a:bodyPr/>
        <a:lstStyle/>
        <a:p>
          <a:endParaRPr lang="de-DE"/>
        </a:p>
      </dgm:t>
    </dgm:pt>
    <dgm:pt modelId="{92274486-3B0D-4A65-8889-55544839726A}" type="pres">
      <dgm:prSet presAssocID="{71BEC7FF-2890-47B5-889A-72442BCD5800}" presName="root2" presStyleCnt="0"/>
      <dgm:spPr/>
    </dgm:pt>
    <dgm:pt modelId="{5879FAFB-5F74-4216-A2FC-A75478C41BE5}" type="pres">
      <dgm:prSet presAssocID="{71BEC7FF-2890-47B5-889A-72442BCD5800}" presName="LevelTwoTextNode" presStyleLbl="node4" presStyleIdx="0" presStyleCnt="1" custScaleX="24678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89FC2C5-0885-44D8-8A32-7EB800DAD007}" type="pres">
      <dgm:prSet presAssocID="{71BEC7FF-2890-47B5-889A-72442BCD5800}" presName="level3hierChild" presStyleCnt="0"/>
      <dgm:spPr/>
    </dgm:pt>
    <dgm:pt modelId="{7A619CD1-99FA-4C50-8103-F0A380C4EE28}" type="pres">
      <dgm:prSet presAssocID="{4A79DE4A-5A8D-4709-A73D-AF0AE695B7EF}" presName="conn2-1" presStyleLbl="parChTrans1D3" presStyleIdx="3" presStyleCnt="6"/>
      <dgm:spPr/>
      <dgm:t>
        <a:bodyPr/>
        <a:lstStyle/>
        <a:p>
          <a:endParaRPr lang="de-DE"/>
        </a:p>
      </dgm:t>
    </dgm:pt>
    <dgm:pt modelId="{FA9547AA-A215-42B0-AF88-731EFDEFAF24}" type="pres">
      <dgm:prSet presAssocID="{4A79DE4A-5A8D-4709-A73D-AF0AE695B7EF}" presName="connTx" presStyleLbl="parChTrans1D3" presStyleIdx="3" presStyleCnt="6"/>
      <dgm:spPr/>
      <dgm:t>
        <a:bodyPr/>
        <a:lstStyle/>
        <a:p>
          <a:endParaRPr lang="de-DE"/>
        </a:p>
      </dgm:t>
    </dgm:pt>
    <dgm:pt modelId="{84E31C2A-D6C9-47D0-95F2-3C7E6B46B594}" type="pres">
      <dgm:prSet presAssocID="{E8254884-8EA2-4EFC-B947-0750E78F8904}" presName="root2" presStyleCnt="0"/>
      <dgm:spPr/>
    </dgm:pt>
    <dgm:pt modelId="{E5B2DE51-F325-4DAE-A2DD-354F947CFE10}" type="pres">
      <dgm:prSet presAssocID="{E8254884-8EA2-4EFC-B947-0750E78F8904}" presName="LevelTwoTextNode" presStyleLbl="node3" presStyleIdx="3" presStyleCnt="6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C351A4C5-CCC5-43AE-8378-36527BA0E17C}" type="pres">
      <dgm:prSet presAssocID="{E8254884-8EA2-4EFC-B947-0750E78F8904}" presName="level3hierChild" presStyleCnt="0"/>
      <dgm:spPr/>
    </dgm:pt>
    <dgm:pt modelId="{DFC3668B-03BB-425A-B237-C5BC1F55319D}" type="pres">
      <dgm:prSet presAssocID="{BB45C34A-A5F4-4A7A-827B-305118DE6F0E}" presName="conn2-1" presStyleLbl="parChTrans1D3" presStyleIdx="4" presStyleCnt="6"/>
      <dgm:spPr/>
      <dgm:t>
        <a:bodyPr/>
        <a:lstStyle/>
        <a:p>
          <a:endParaRPr lang="de-DE"/>
        </a:p>
      </dgm:t>
    </dgm:pt>
    <dgm:pt modelId="{A4993B9E-5B3F-4DE4-8852-D3381A16EA40}" type="pres">
      <dgm:prSet presAssocID="{BB45C34A-A5F4-4A7A-827B-305118DE6F0E}" presName="connTx" presStyleLbl="parChTrans1D3" presStyleIdx="4" presStyleCnt="6"/>
      <dgm:spPr/>
      <dgm:t>
        <a:bodyPr/>
        <a:lstStyle/>
        <a:p>
          <a:endParaRPr lang="de-DE"/>
        </a:p>
      </dgm:t>
    </dgm:pt>
    <dgm:pt modelId="{0CFE71ED-25B3-4AAB-8FBF-F0FDE2D48C61}" type="pres">
      <dgm:prSet presAssocID="{FA6BD26D-80C2-428D-BD3E-D3079642E9D4}" presName="root2" presStyleCnt="0"/>
      <dgm:spPr/>
    </dgm:pt>
    <dgm:pt modelId="{29B6B637-81BC-476F-A724-77A32D4E92A0}" type="pres">
      <dgm:prSet presAssocID="{FA6BD26D-80C2-428D-BD3E-D3079642E9D4}" presName="LevelTwoTextNode" presStyleLbl="node3" presStyleIdx="4" presStyleCnt="6" custScaleX="100130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AF35137A-2D4D-4BD5-AC81-41F8452E1D5F}" type="pres">
      <dgm:prSet presAssocID="{FA6BD26D-80C2-428D-BD3E-D3079642E9D4}" presName="level3hierChild" presStyleCnt="0"/>
      <dgm:spPr/>
    </dgm:pt>
    <dgm:pt modelId="{72624831-0085-4C0F-9902-161E1F891B58}" type="pres">
      <dgm:prSet presAssocID="{9CA5B2DE-C446-4AE9-9F52-C586DB249995}" presName="conn2-1" presStyleLbl="parChTrans1D3" presStyleIdx="5" presStyleCnt="6"/>
      <dgm:spPr/>
      <dgm:t>
        <a:bodyPr/>
        <a:lstStyle/>
        <a:p>
          <a:endParaRPr lang="de-DE"/>
        </a:p>
      </dgm:t>
    </dgm:pt>
    <dgm:pt modelId="{8FBCC7AC-2BCC-473B-9031-9E9CA3D1B6A7}" type="pres">
      <dgm:prSet presAssocID="{9CA5B2DE-C446-4AE9-9F52-C586DB249995}" presName="connTx" presStyleLbl="parChTrans1D3" presStyleIdx="5" presStyleCnt="6"/>
      <dgm:spPr/>
      <dgm:t>
        <a:bodyPr/>
        <a:lstStyle/>
        <a:p>
          <a:endParaRPr lang="de-DE"/>
        </a:p>
      </dgm:t>
    </dgm:pt>
    <dgm:pt modelId="{5D0E02D8-BD58-4932-945D-B7B487FB791C}" type="pres">
      <dgm:prSet presAssocID="{6842D594-ED47-427E-A1E0-A2E076DAA5FD}" presName="root2" presStyleCnt="0"/>
      <dgm:spPr/>
    </dgm:pt>
    <dgm:pt modelId="{E4311872-4433-4B07-BDC2-59690B903B5B}" type="pres">
      <dgm:prSet presAssocID="{6842D594-ED47-427E-A1E0-A2E076DAA5FD}" presName="LevelTwoTextNode" presStyleLbl="node3" presStyleIdx="5" presStyleCnt="6">
        <dgm:presLayoutVars>
          <dgm:chPref val="3"/>
        </dgm:presLayoutVars>
      </dgm:prSet>
      <dgm:spPr/>
      <dgm:t>
        <a:bodyPr/>
        <a:lstStyle/>
        <a:p>
          <a:endParaRPr lang="de-DE"/>
        </a:p>
      </dgm:t>
    </dgm:pt>
    <dgm:pt modelId="{E1768A9F-541A-4D63-BBDB-E29FB4EBF31C}" type="pres">
      <dgm:prSet presAssocID="{6842D594-ED47-427E-A1E0-A2E076DAA5FD}" presName="level3hierChild" presStyleCnt="0"/>
      <dgm:spPr/>
    </dgm:pt>
    <dgm:pt modelId="{01776CFA-159D-4D36-A183-311F5C151BBE}" type="pres">
      <dgm:prSet presAssocID="{66C1E9F4-0EBF-4F83-AB0A-A432A453ED25}" presName="root1" presStyleCnt="0"/>
      <dgm:spPr/>
    </dgm:pt>
    <dgm:pt modelId="{3FA86979-A3C5-4695-80F6-22819D1DEAE2}" type="pres">
      <dgm:prSet presAssocID="{66C1E9F4-0EBF-4F83-AB0A-A432A453ED25}" presName="LevelOneTextNode" presStyleLbl="node0" presStyleIdx="2" presStyleCnt="4" custLinFactY="-100000" custLinFactNeighborY="-13007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CA54160-AF29-4DF9-903D-562749C515B3}" type="pres">
      <dgm:prSet presAssocID="{66C1E9F4-0EBF-4F83-AB0A-A432A453ED25}" presName="level2hierChild" presStyleCnt="0"/>
      <dgm:spPr/>
    </dgm:pt>
    <dgm:pt modelId="{15F258B3-B0E3-4F97-AAFE-3EC4716A5CBD}" type="pres">
      <dgm:prSet presAssocID="{879FB128-AA3D-43D0-AD94-53905881E1C7}" presName="conn2-1" presStyleLbl="parChTrans1D2" presStyleIdx="4" presStyleCnt="5"/>
      <dgm:spPr/>
      <dgm:t>
        <a:bodyPr/>
        <a:lstStyle/>
        <a:p>
          <a:endParaRPr lang="en-US"/>
        </a:p>
      </dgm:t>
    </dgm:pt>
    <dgm:pt modelId="{EBEA2B9D-5AFC-4E61-932F-97E5D541EBBE}" type="pres">
      <dgm:prSet presAssocID="{879FB128-AA3D-43D0-AD94-53905881E1C7}" presName="connTx" presStyleLbl="parChTrans1D2" presStyleIdx="4" presStyleCnt="5"/>
      <dgm:spPr/>
      <dgm:t>
        <a:bodyPr/>
        <a:lstStyle/>
        <a:p>
          <a:endParaRPr lang="en-US"/>
        </a:p>
      </dgm:t>
    </dgm:pt>
    <dgm:pt modelId="{67D34277-D58B-4D20-A59F-0D824FE876C0}" type="pres">
      <dgm:prSet presAssocID="{267F5012-FD7E-468A-A331-E4A20019B148}" presName="root2" presStyleCnt="0"/>
      <dgm:spPr/>
    </dgm:pt>
    <dgm:pt modelId="{14CF5DA2-5C84-4827-B221-359F994E2FE5}" type="pres">
      <dgm:prSet presAssocID="{267F5012-FD7E-468A-A331-E4A20019B148}" presName="LevelTwoTextNode" presStyleLbl="node2" presStyleIdx="4" presStyleCnt="5" custLinFactY="-100000" custLinFactNeighborY="-13007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E48BEBEB-865C-4A9A-9C79-13DC42AAD5AB}" type="pres">
      <dgm:prSet presAssocID="{267F5012-FD7E-468A-A331-E4A20019B148}" presName="level3hierChild" presStyleCnt="0"/>
      <dgm:spPr/>
    </dgm:pt>
    <dgm:pt modelId="{09EFA4D6-1690-4AC1-8579-5AA1F1823F0F}" type="pres">
      <dgm:prSet presAssocID="{DEAF7669-D324-4CB7-89C8-AB0FD436B5A5}" presName="root1" presStyleCnt="0"/>
      <dgm:spPr/>
    </dgm:pt>
    <dgm:pt modelId="{B2950AC5-B526-494F-9B58-A8072A16E28A}" type="pres">
      <dgm:prSet presAssocID="{DEAF7669-D324-4CB7-89C8-AB0FD436B5A5}" presName="LevelOneTextNode" presStyleLbl="node0" presStyleIdx="3" presStyleCnt="4" custLinFactY="-200000" custLinFactNeighborY="-260072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D8F80545-FB80-4DA5-852F-CBD6F981DE00}" type="pres">
      <dgm:prSet presAssocID="{DEAF7669-D324-4CB7-89C8-AB0FD436B5A5}" presName="level2hierChild" presStyleCnt="0"/>
      <dgm:spPr/>
    </dgm:pt>
  </dgm:ptLst>
  <dgm:cxnLst>
    <dgm:cxn modelId="{9138E830-4E4E-469E-AFC4-B37960607251}" type="presOf" srcId="{71BEC7FF-2890-47B5-889A-72442BCD5800}" destId="{5879FAFB-5F74-4216-A2FC-A75478C41BE5}" srcOrd="0" destOrd="0" presId="urn:microsoft.com/office/officeart/2005/8/layout/hierarchy2"/>
    <dgm:cxn modelId="{25A71578-293A-4B6F-88E9-549E4EE4621A}" srcId="{AA49E104-D646-41F7-B58B-39A4CEDCE5E0}" destId="{488F98EA-2587-48FD-A33F-F9322504BCFB}" srcOrd="2" destOrd="0" parTransId="{E1504FCA-E4C8-4695-870F-740438C0B42A}" sibTransId="{A4121297-28DA-4446-90A0-44DA4D608282}"/>
    <dgm:cxn modelId="{D60DE9BF-1EAD-4EBB-81F9-A78385378EEF}" type="presOf" srcId="{E8254884-8EA2-4EFC-B947-0750E78F8904}" destId="{E5B2DE51-F325-4DAE-A2DD-354F947CFE10}" srcOrd="0" destOrd="0" presId="urn:microsoft.com/office/officeart/2005/8/layout/hierarchy2"/>
    <dgm:cxn modelId="{D6A44A7D-9473-4063-897A-49E0FEE2AE33}" type="presOf" srcId="{BB45C34A-A5F4-4A7A-827B-305118DE6F0E}" destId="{A4993B9E-5B3F-4DE4-8852-D3381A16EA40}" srcOrd="1" destOrd="0" presId="urn:microsoft.com/office/officeart/2005/8/layout/hierarchy2"/>
    <dgm:cxn modelId="{3DAD797B-1CFF-4452-9FB6-DF1A91A323C7}" type="presOf" srcId="{A61CF587-480D-4434-B2D2-E9435959701B}" destId="{3C020653-7F73-4831-96A4-F775B7BE71E8}" srcOrd="1" destOrd="0" presId="urn:microsoft.com/office/officeart/2005/8/layout/hierarchy2"/>
    <dgm:cxn modelId="{81E9B1E7-F636-4B18-A578-A251F62F366F}" type="presOf" srcId="{E1504FCA-E4C8-4695-870F-740438C0B42A}" destId="{D8D65DF1-8E7A-40ED-96C5-086FD4E83B70}" srcOrd="1" destOrd="0" presId="urn:microsoft.com/office/officeart/2005/8/layout/hierarchy2"/>
    <dgm:cxn modelId="{BF358CDB-44F0-4DAD-AE14-FF5C5787457D}" type="presOf" srcId="{37B1B3BA-3265-4639-AE80-58196E2F566F}" destId="{F040D676-9CBE-435A-BDD1-21538579082D}" srcOrd="0" destOrd="0" presId="urn:microsoft.com/office/officeart/2005/8/layout/hierarchy2"/>
    <dgm:cxn modelId="{3F1776B3-38CE-4090-8F52-B9BE5B492994}" type="presOf" srcId="{4A79DE4A-5A8D-4709-A73D-AF0AE695B7EF}" destId="{FA9547AA-A215-42B0-AF88-731EFDEFAF24}" srcOrd="1" destOrd="0" presId="urn:microsoft.com/office/officeart/2005/8/layout/hierarchy2"/>
    <dgm:cxn modelId="{B79FB1DF-85B4-458A-8F6D-63F115E6830D}" type="presOf" srcId="{E5AD24EF-B207-4EC1-9370-64BEB3DB8D45}" destId="{47C3EF35-AD04-4B88-8B91-CDC89CA6E682}" srcOrd="0" destOrd="0" presId="urn:microsoft.com/office/officeart/2005/8/layout/hierarchy2"/>
    <dgm:cxn modelId="{5CC7A4EB-4474-4651-BD3B-613C885A0824}" type="presOf" srcId="{C4361C04-BB78-4B9B-8D59-98F34D9FF557}" destId="{FFC56C68-E547-49F5-9F9B-1F32666A69B2}" srcOrd="0" destOrd="0" presId="urn:microsoft.com/office/officeart/2005/8/layout/hierarchy2"/>
    <dgm:cxn modelId="{B2651147-8EDB-48F7-B862-D32C2CC4B3DE}" type="presOf" srcId="{E1504FCA-E4C8-4695-870F-740438C0B42A}" destId="{8ECB64AE-D97B-4934-B47E-A2267DE790E7}" srcOrd="0" destOrd="0" presId="urn:microsoft.com/office/officeart/2005/8/layout/hierarchy2"/>
    <dgm:cxn modelId="{5521158E-8DEE-452F-9520-7E295A1171F4}" srcId="{AA49E104-D646-41F7-B58B-39A4CEDCE5E0}" destId="{A599ACF9-144D-4C84-B299-396F2740D703}" srcOrd="3" destOrd="0" parTransId="{46EEDE8B-5DFA-4DB3-805A-1FBACCCA75F2}" sibTransId="{B8012616-2EAD-4E7F-8CFD-4F0E7D5BF6E5}"/>
    <dgm:cxn modelId="{A9A242AB-DCC7-4889-8F18-CC1FD4EAA23C}" srcId="{DFC471A5-7D6C-4E30-9210-A7910A823C5C}" destId="{DEAF7669-D324-4CB7-89C8-AB0FD436B5A5}" srcOrd="3" destOrd="0" parTransId="{58856660-BEF8-4A7D-BA04-571DE1C1E6CB}" sibTransId="{17942BB4-9C2A-47B0-B1C1-2B5856FE86DF}"/>
    <dgm:cxn modelId="{DCD48337-C870-4AF4-8185-3A7AF88BA7B6}" type="presOf" srcId="{94014871-8949-49C8-B78A-D64A78012520}" destId="{3787854E-BE45-4C28-A2A2-8B1AD1E436EA}" srcOrd="0" destOrd="0" presId="urn:microsoft.com/office/officeart/2005/8/layout/hierarchy2"/>
    <dgm:cxn modelId="{084D2C4A-8D04-41F1-A04B-CA48EF721591}" srcId="{A599ACF9-144D-4C84-B299-396F2740D703}" destId="{00886774-08E9-4123-8A79-7EB87F733339}" srcOrd="0" destOrd="0" parTransId="{C4361C04-BB78-4B9B-8D59-98F34D9FF557}" sibTransId="{BB9BC8CB-70E9-4E21-87A2-78E118889839}"/>
    <dgm:cxn modelId="{4423675A-3128-4241-9D22-C338FA58FF19}" type="presOf" srcId="{93675B31-2C93-43B2-BDB6-0059B61CA422}" destId="{A32ADC8C-147E-403D-AEC0-17E8C5CE7A8C}" srcOrd="1" destOrd="0" presId="urn:microsoft.com/office/officeart/2005/8/layout/hierarchy2"/>
    <dgm:cxn modelId="{D38778F2-DC83-463F-B9D6-5FD1BC01E064}" srcId="{90BAB178-BBDB-4403-A169-A2FA026932A4}" destId="{71BEC7FF-2890-47B5-889A-72442BCD5800}" srcOrd="0" destOrd="0" parTransId="{94014871-8949-49C8-B78A-D64A78012520}" sibTransId="{682AB9D6-1A18-4BCA-A794-4AFF9F922019}"/>
    <dgm:cxn modelId="{864BD163-1013-45FA-AF88-7F3BCAEC8824}" srcId="{A599ACF9-144D-4C84-B299-396F2740D703}" destId="{6842D594-ED47-427E-A1E0-A2E076DAA5FD}" srcOrd="4" destOrd="0" parTransId="{9CA5B2DE-C446-4AE9-9F52-C586DB249995}" sibTransId="{F2F5956C-CD64-4303-A071-148B6A6CAF47}"/>
    <dgm:cxn modelId="{C835793C-6AEC-4BF5-884D-1DACE38EB1DE}" srcId="{AA49E104-D646-41F7-B58B-39A4CEDCE5E0}" destId="{1D515B04-C21E-42E2-9170-D7E7AA2FA328}" srcOrd="0" destOrd="0" parTransId="{A61CF587-480D-4434-B2D2-E9435959701B}" sibTransId="{AA59E8AD-034C-4DDE-B2D6-969912303D22}"/>
    <dgm:cxn modelId="{14FB83AE-3170-45CF-B96C-26D28D3BFBA1}" type="presOf" srcId="{6842D594-ED47-427E-A1E0-A2E076DAA5FD}" destId="{E4311872-4433-4B07-BDC2-59690B903B5B}" srcOrd="0" destOrd="0" presId="urn:microsoft.com/office/officeart/2005/8/layout/hierarchy2"/>
    <dgm:cxn modelId="{B079545C-D646-4799-8B15-B01BF5C52137}" type="presOf" srcId="{46EEDE8B-5DFA-4DB3-805A-1FBACCCA75F2}" destId="{82E4DCA1-DE6A-4EC7-9C41-2B999698ABA9}" srcOrd="0" destOrd="0" presId="urn:microsoft.com/office/officeart/2005/8/layout/hierarchy2"/>
    <dgm:cxn modelId="{2E940E71-F38D-497E-9642-AEC3CF8FE2AE}" type="presOf" srcId="{A9E610CB-0443-44CF-9C0B-57310250ACF6}" destId="{3422821C-716F-473A-ABD6-C274C74A44FA}" srcOrd="0" destOrd="0" presId="urn:microsoft.com/office/officeart/2005/8/layout/hierarchy2"/>
    <dgm:cxn modelId="{8D5760D7-C847-461E-821C-46C224308406}" type="presOf" srcId="{DFC471A5-7D6C-4E30-9210-A7910A823C5C}" destId="{02AAFD45-72FD-484F-AD1F-284AAC002892}" srcOrd="0" destOrd="0" presId="urn:microsoft.com/office/officeart/2005/8/layout/hierarchy2"/>
    <dgm:cxn modelId="{3D199DA5-9F0D-44F1-B28A-68FC9703673D}" type="presOf" srcId="{C4361C04-BB78-4B9B-8D59-98F34D9FF557}" destId="{D0B75EC9-B58F-441B-AF41-CCDFB21F8DA9}" srcOrd="1" destOrd="0" presId="urn:microsoft.com/office/officeart/2005/8/layout/hierarchy2"/>
    <dgm:cxn modelId="{333CC863-1591-4EEF-A668-C31B98F3F5FA}" type="presOf" srcId="{A61CF587-480D-4434-B2D2-E9435959701B}" destId="{904108CE-50A0-4FEA-95A1-63972222CB37}" srcOrd="0" destOrd="0" presId="urn:microsoft.com/office/officeart/2005/8/layout/hierarchy2"/>
    <dgm:cxn modelId="{0EA79358-D4ED-4407-9DD4-0220A8A35BCD}" type="presOf" srcId="{46EEDE8B-5DFA-4DB3-805A-1FBACCCA75F2}" destId="{149D0A5A-7F56-441D-BE68-36F6DF00092A}" srcOrd="1" destOrd="0" presId="urn:microsoft.com/office/officeart/2005/8/layout/hierarchy2"/>
    <dgm:cxn modelId="{7266C5F5-3BF6-48B6-BE2A-2C3F40ACDCCA}" type="presOf" srcId="{4A79DE4A-5A8D-4709-A73D-AF0AE695B7EF}" destId="{7A619CD1-99FA-4C50-8103-F0A380C4EE28}" srcOrd="0" destOrd="0" presId="urn:microsoft.com/office/officeart/2005/8/layout/hierarchy2"/>
    <dgm:cxn modelId="{FF31E7F0-5196-4A48-9902-0B5C8AA1DF69}" type="presOf" srcId="{FA6BD26D-80C2-428D-BD3E-D3079642E9D4}" destId="{29B6B637-81BC-476F-A724-77A32D4E92A0}" srcOrd="0" destOrd="0" presId="urn:microsoft.com/office/officeart/2005/8/layout/hierarchy2"/>
    <dgm:cxn modelId="{3D083EE1-D3E2-494C-B922-7DD2EDD7051B}" srcId="{A599ACF9-144D-4C84-B299-396F2740D703}" destId="{90BAB178-BBDB-4403-A169-A2FA026932A4}" srcOrd="1" destOrd="0" parTransId="{93675B31-2C93-43B2-BDB6-0059B61CA422}" sibTransId="{CCDD5239-F44A-4D1F-978F-397FA3708F23}"/>
    <dgm:cxn modelId="{CFB943F5-29D8-41BA-BF2E-82118CCAE62A}" srcId="{AA49E104-D646-41F7-B58B-39A4CEDCE5E0}" destId="{37B1B3BA-3265-4639-AE80-58196E2F566F}" srcOrd="1" destOrd="0" parTransId="{E5AD24EF-B207-4EC1-9370-64BEB3DB8D45}" sibTransId="{C2071DDA-4EEC-4F86-A8D3-72A5D468AD3C}"/>
    <dgm:cxn modelId="{31C4A896-DD8F-4559-B16D-66236F9B902D}" type="presOf" srcId="{BB45C34A-A5F4-4A7A-827B-305118DE6F0E}" destId="{DFC3668B-03BB-425A-B237-C5BC1F55319D}" srcOrd="0" destOrd="0" presId="urn:microsoft.com/office/officeart/2005/8/layout/hierarchy2"/>
    <dgm:cxn modelId="{DCBD7314-9AF2-4290-908B-F55E57A998DD}" type="presOf" srcId="{93675B31-2C93-43B2-BDB6-0059B61CA422}" destId="{B62724A9-C854-45B7-A0DB-DDCCB3D8CD75}" srcOrd="0" destOrd="0" presId="urn:microsoft.com/office/officeart/2005/8/layout/hierarchy2"/>
    <dgm:cxn modelId="{6AE8C931-3227-442C-B2B0-97C47738C91A}" type="presOf" srcId="{6FD74E85-D483-4A3D-8624-04F4459A9776}" destId="{5595C1A1-625A-4F75-9DFB-F287834D17E4}" srcOrd="0" destOrd="0" presId="urn:microsoft.com/office/officeart/2005/8/layout/hierarchy2"/>
    <dgm:cxn modelId="{EDDF3F21-0B8C-4A0B-B2C5-4BC5499A4CE1}" type="presOf" srcId="{057EB9E2-5320-417D-A3F9-BEF49BC43DAB}" destId="{BBFA62CD-35FD-4B1F-AE75-78A3B75732AB}" srcOrd="0" destOrd="0" presId="urn:microsoft.com/office/officeart/2005/8/layout/hierarchy2"/>
    <dgm:cxn modelId="{9FB1B8BA-70FE-4C07-9FD3-CC7B6E5D9856}" srcId="{DFC471A5-7D6C-4E30-9210-A7910A823C5C}" destId="{AA49E104-D646-41F7-B58B-39A4CEDCE5E0}" srcOrd="1" destOrd="0" parTransId="{A72758A3-1976-4375-A4ED-42EE01855F8B}" sibTransId="{C6D37E70-44B9-44E8-A1AA-AA93385DA7EF}"/>
    <dgm:cxn modelId="{4D8565F1-40B4-44BD-8CE4-7B4C0A29F01D}" srcId="{A599ACF9-144D-4C84-B299-396F2740D703}" destId="{E8254884-8EA2-4EFC-B947-0750E78F8904}" srcOrd="2" destOrd="0" parTransId="{4A79DE4A-5A8D-4709-A73D-AF0AE695B7EF}" sibTransId="{885E9225-9661-43B0-9A6E-5ACE55867EA9}"/>
    <dgm:cxn modelId="{F90CF90D-784B-42B7-A386-183410EF8163}" type="presOf" srcId="{66C1E9F4-0EBF-4F83-AB0A-A432A453ED25}" destId="{3FA86979-A3C5-4695-80F6-22819D1DEAE2}" srcOrd="0" destOrd="0" presId="urn:microsoft.com/office/officeart/2005/8/layout/hierarchy2"/>
    <dgm:cxn modelId="{89AF7A98-6C52-4123-A201-BF5B6AF857D3}" type="presOf" srcId="{879FB128-AA3D-43D0-AD94-53905881E1C7}" destId="{15F258B3-B0E3-4F97-AAFE-3EC4716A5CBD}" srcOrd="0" destOrd="0" presId="urn:microsoft.com/office/officeart/2005/8/layout/hierarchy2"/>
    <dgm:cxn modelId="{B5798164-C79B-48D2-BC37-4A65DC963880}" type="presOf" srcId="{9CA5B2DE-C446-4AE9-9F52-C586DB249995}" destId="{8FBCC7AC-2BCC-473B-9031-9E9CA3D1B6A7}" srcOrd="1" destOrd="0" presId="urn:microsoft.com/office/officeart/2005/8/layout/hierarchy2"/>
    <dgm:cxn modelId="{7997D52E-91DF-494D-B936-4D4938512FE0}" type="presOf" srcId="{AA49E104-D646-41F7-B58B-39A4CEDCE5E0}" destId="{B7BDA79A-C414-4C6E-8004-BA9A988FF82B}" srcOrd="0" destOrd="0" presId="urn:microsoft.com/office/officeart/2005/8/layout/hierarchy2"/>
    <dgm:cxn modelId="{B5A3DF71-F283-4CAF-A322-874576DEF2ED}" type="presOf" srcId="{1D515B04-C21E-42E2-9170-D7E7AA2FA328}" destId="{52C62817-2426-41FE-A825-9021C64D129C}" srcOrd="0" destOrd="0" presId="urn:microsoft.com/office/officeart/2005/8/layout/hierarchy2"/>
    <dgm:cxn modelId="{518A5645-1986-4635-A76B-9AB5A39E2267}" srcId="{488F98EA-2587-48FD-A33F-F9322504BCFB}" destId="{6FD74E85-D483-4A3D-8624-04F4459A9776}" srcOrd="0" destOrd="0" parTransId="{A9E610CB-0443-44CF-9C0B-57310250ACF6}" sibTransId="{05936427-9857-4D4E-847C-D25EC42522F7}"/>
    <dgm:cxn modelId="{F124EB67-7CC6-42A1-9ABA-9A0E495CADE6}" type="presOf" srcId="{A599ACF9-144D-4C84-B299-396F2740D703}" destId="{75CD177B-6BB0-4515-A2D9-90CF595CE576}" srcOrd="0" destOrd="0" presId="urn:microsoft.com/office/officeart/2005/8/layout/hierarchy2"/>
    <dgm:cxn modelId="{299DF10A-D4AD-45C7-B14A-C276BB6EAF08}" srcId="{DFC471A5-7D6C-4E30-9210-A7910A823C5C}" destId="{057EB9E2-5320-417D-A3F9-BEF49BC43DAB}" srcOrd="0" destOrd="0" parTransId="{93CA6030-8DA2-41F7-9D2D-BB93200B1DF8}" sibTransId="{0AC062E2-D14D-4C95-BA9A-C154874EDB33}"/>
    <dgm:cxn modelId="{12A7EA7B-9D26-44AB-9C7F-D1AE00DE155A}" srcId="{A599ACF9-144D-4C84-B299-396F2740D703}" destId="{FA6BD26D-80C2-428D-BD3E-D3079642E9D4}" srcOrd="3" destOrd="0" parTransId="{BB45C34A-A5F4-4A7A-827B-305118DE6F0E}" sibTransId="{316611A2-D25F-43D2-A594-585F5F4DE756}"/>
    <dgm:cxn modelId="{1C1540A2-A35C-4109-AB3F-AAD01ACB8375}" type="presOf" srcId="{E5AD24EF-B207-4EC1-9370-64BEB3DB8D45}" destId="{8BCCCDB1-4437-42F8-AC35-9E504E577B4D}" srcOrd="1" destOrd="0" presId="urn:microsoft.com/office/officeart/2005/8/layout/hierarchy2"/>
    <dgm:cxn modelId="{42D90C78-A44C-4E75-9FAB-AE8F78728A35}" type="presOf" srcId="{A9E610CB-0443-44CF-9C0B-57310250ACF6}" destId="{678F366C-7396-43C4-BE70-860D753DCB6D}" srcOrd="1" destOrd="0" presId="urn:microsoft.com/office/officeart/2005/8/layout/hierarchy2"/>
    <dgm:cxn modelId="{E0A50B46-739D-4DE9-BC11-F67DBF4DE7C0}" type="presOf" srcId="{879FB128-AA3D-43D0-AD94-53905881E1C7}" destId="{EBEA2B9D-5AFC-4E61-932F-97E5D541EBBE}" srcOrd="1" destOrd="0" presId="urn:microsoft.com/office/officeart/2005/8/layout/hierarchy2"/>
    <dgm:cxn modelId="{E4890D88-7B6D-467D-88BB-1CB27A2E9337}" type="presOf" srcId="{DEAF7669-D324-4CB7-89C8-AB0FD436B5A5}" destId="{B2950AC5-B526-494F-9B58-A8072A16E28A}" srcOrd="0" destOrd="0" presId="urn:microsoft.com/office/officeart/2005/8/layout/hierarchy2"/>
    <dgm:cxn modelId="{58CB7B2A-CE6C-417F-AE7D-54DCA7C6804E}" type="presOf" srcId="{9CA5B2DE-C446-4AE9-9F52-C586DB249995}" destId="{72624831-0085-4C0F-9902-161E1F891B58}" srcOrd="0" destOrd="0" presId="urn:microsoft.com/office/officeart/2005/8/layout/hierarchy2"/>
    <dgm:cxn modelId="{40CA7030-24B7-41B0-BBBC-14142E0309F2}" type="presOf" srcId="{90BAB178-BBDB-4403-A169-A2FA026932A4}" destId="{DA874016-F828-45F5-BEAE-FE04D19EE787}" srcOrd="0" destOrd="0" presId="urn:microsoft.com/office/officeart/2005/8/layout/hierarchy2"/>
    <dgm:cxn modelId="{70407A4D-C9BC-4836-B07D-F68C836571F9}" srcId="{DFC471A5-7D6C-4E30-9210-A7910A823C5C}" destId="{66C1E9F4-0EBF-4F83-AB0A-A432A453ED25}" srcOrd="2" destOrd="0" parTransId="{2F7D34F9-472B-4C46-82CB-077A24705855}" sibTransId="{594EF822-647E-4AAE-ADE4-DD926C54BE5A}"/>
    <dgm:cxn modelId="{A43B8724-63E9-4B17-81F3-E214FCDB9150}" type="presOf" srcId="{267F5012-FD7E-468A-A331-E4A20019B148}" destId="{14CF5DA2-5C84-4827-B221-359F994E2FE5}" srcOrd="0" destOrd="0" presId="urn:microsoft.com/office/officeart/2005/8/layout/hierarchy2"/>
    <dgm:cxn modelId="{DAEC4D14-225A-4473-88C3-998352C6DFB9}" type="presOf" srcId="{00886774-08E9-4123-8A79-7EB87F733339}" destId="{074FF618-CC9B-4AA8-9F8E-1B2AA406987F}" srcOrd="0" destOrd="0" presId="urn:microsoft.com/office/officeart/2005/8/layout/hierarchy2"/>
    <dgm:cxn modelId="{9EDCB83B-AF1A-438B-B54D-AE6EB9D501EE}" type="presOf" srcId="{488F98EA-2587-48FD-A33F-F9322504BCFB}" destId="{8E11EE0D-DBE7-4602-840A-6F9BE39CBBA4}" srcOrd="0" destOrd="0" presId="urn:microsoft.com/office/officeart/2005/8/layout/hierarchy2"/>
    <dgm:cxn modelId="{F9C68ECA-2D1E-419A-8AED-A90547D0CDF5}" type="presOf" srcId="{94014871-8949-49C8-B78A-D64A78012520}" destId="{9F952855-A356-44F3-8A86-AF5A699FF71F}" srcOrd="1" destOrd="0" presId="urn:microsoft.com/office/officeart/2005/8/layout/hierarchy2"/>
    <dgm:cxn modelId="{40B17A7A-E733-47E6-A3D1-4DB6EC5D6491}" srcId="{66C1E9F4-0EBF-4F83-AB0A-A432A453ED25}" destId="{267F5012-FD7E-468A-A331-E4A20019B148}" srcOrd="0" destOrd="0" parTransId="{879FB128-AA3D-43D0-AD94-53905881E1C7}" sibTransId="{A2374133-394F-4A8D-9951-267FBDED32BF}"/>
    <dgm:cxn modelId="{BBBF428F-3796-4141-AAFF-0DAA2548E88E}" type="presParOf" srcId="{02AAFD45-72FD-484F-AD1F-284AAC002892}" destId="{1153ABDB-EDF9-494E-8D71-021EA9281B75}" srcOrd="0" destOrd="0" presId="urn:microsoft.com/office/officeart/2005/8/layout/hierarchy2"/>
    <dgm:cxn modelId="{380F1161-4007-4789-A6B1-8A2DA726117B}" type="presParOf" srcId="{1153ABDB-EDF9-494E-8D71-021EA9281B75}" destId="{BBFA62CD-35FD-4B1F-AE75-78A3B75732AB}" srcOrd="0" destOrd="0" presId="urn:microsoft.com/office/officeart/2005/8/layout/hierarchy2"/>
    <dgm:cxn modelId="{16DC81C9-F857-4B04-9F2E-DB902D9FD98E}" type="presParOf" srcId="{1153ABDB-EDF9-494E-8D71-021EA9281B75}" destId="{1761BE2A-647F-4C7D-B4E0-CE7CCB3089CB}" srcOrd="1" destOrd="0" presId="urn:microsoft.com/office/officeart/2005/8/layout/hierarchy2"/>
    <dgm:cxn modelId="{3339FD78-083B-4710-9E96-5213BA47B17B}" type="presParOf" srcId="{02AAFD45-72FD-484F-AD1F-284AAC002892}" destId="{BA45E173-508E-4D05-B82A-B7F53B1356FC}" srcOrd="1" destOrd="0" presId="urn:microsoft.com/office/officeart/2005/8/layout/hierarchy2"/>
    <dgm:cxn modelId="{8D2C8339-8E44-4113-B407-7B5A5EDB133E}" type="presParOf" srcId="{BA45E173-508E-4D05-B82A-B7F53B1356FC}" destId="{B7BDA79A-C414-4C6E-8004-BA9A988FF82B}" srcOrd="0" destOrd="0" presId="urn:microsoft.com/office/officeart/2005/8/layout/hierarchy2"/>
    <dgm:cxn modelId="{D45527B1-56FE-4BC5-873F-008CA7065239}" type="presParOf" srcId="{BA45E173-508E-4D05-B82A-B7F53B1356FC}" destId="{12775AD6-9158-45B1-A483-153F87A2C349}" srcOrd="1" destOrd="0" presId="urn:microsoft.com/office/officeart/2005/8/layout/hierarchy2"/>
    <dgm:cxn modelId="{DF080D1C-2ABB-4AF8-A681-400CD17ACFE6}" type="presParOf" srcId="{12775AD6-9158-45B1-A483-153F87A2C349}" destId="{904108CE-50A0-4FEA-95A1-63972222CB37}" srcOrd="0" destOrd="0" presId="urn:microsoft.com/office/officeart/2005/8/layout/hierarchy2"/>
    <dgm:cxn modelId="{9E26F325-47E4-4BA2-883C-E36254835C54}" type="presParOf" srcId="{904108CE-50A0-4FEA-95A1-63972222CB37}" destId="{3C020653-7F73-4831-96A4-F775B7BE71E8}" srcOrd="0" destOrd="0" presId="urn:microsoft.com/office/officeart/2005/8/layout/hierarchy2"/>
    <dgm:cxn modelId="{C0137EB0-BC3F-41C1-91A4-A286CEC5A2F0}" type="presParOf" srcId="{12775AD6-9158-45B1-A483-153F87A2C349}" destId="{A69213C7-7C5F-4089-BAD5-4AB9A1E4E301}" srcOrd="1" destOrd="0" presId="urn:microsoft.com/office/officeart/2005/8/layout/hierarchy2"/>
    <dgm:cxn modelId="{AEE33A5F-AE6B-4152-B8E0-0A03E33E095B}" type="presParOf" srcId="{A69213C7-7C5F-4089-BAD5-4AB9A1E4E301}" destId="{52C62817-2426-41FE-A825-9021C64D129C}" srcOrd="0" destOrd="0" presId="urn:microsoft.com/office/officeart/2005/8/layout/hierarchy2"/>
    <dgm:cxn modelId="{F9926E76-F511-4F30-BB19-45F4748CAA12}" type="presParOf" srcId="{A69213C7-7C5F-4089-BAD5-4AB9A1E4E301}" destId="{8982A189-7C0B-492E-B362-A2BC81A74878}" srcOrd="1" destOrd="0" presId="urn:microsoft.com/office/officeart/2005/8/layout/hierarchy2"/>
    <dgm:cxn modelId="{F4CB25B1-EC06-44D6-9AB8-1EBF2EB0F819}" type="presParOf" srcId="{12775AD6-9158-45B1-A483-153F87A2C349}" destId="{47C3EF35-AD04-4B88-8B91-CDC89CA6E682}" srcOrd="2" destOrd="0" presId="urn:microsoft.com/office/officeart/2005/8/layout/hierarchy2"/>
    <dgm:cxn modelId="{1B920CC2-CFFD-492B-9E18-72A90AFA663E}" type="presParOf" srcId="{47C3EF35-AD04-4B88-8B91-CDC89CA6E682}" destId="{8BCCCDB1-4437-42F8-AC35-9E504E577B4D}" srcOrd="0" destOrd="0" presId="urn:microsoft.com/office/officeart/2005/8/layout/hierarchy2"/>
    <dgm:cxn modelId="{288FBB2C-5ADC-48B9-8D9E-3EC80425E80C}" type="presParOf" srcId="{12775AD6-9158-45B1-A483-153F87A2C349}" destId="{1DE782D6-1AB1-47B1-B003-0F47CA6BC604}" srcOrd="3" destOrd="0" presId="urn:microsoft.com/office/officeart/2005/8/layout/hierarchy2"/>
    <dgm:cxn modelId="{334DAE19-9FDF-4910-88E2-5300EBEA12DC}" type="presParOf" srcId="{1DE782D6-1AB1-47B1-B003-0F47CA6BC604}" destId="{F040D676-9CBE-435A-BDD1-21538579082D}" srcOrd="0" destOrd="0" presId="urn:microsoft.com/office/officeart/2005/8/layout/hierarchy2"/>
    <dgm:cxn modelId="{970F449B-B868-4A23-9A7E-1A44BD06FD4A}" type="presParOf" srcId="{1DE782D6-1AB1-47B1-B003-0F47CA6BC604}" destId="{10D4C4BF-7C52-4C95-A0FF-EA6A8F4FC034}" srcOrd="1" destOrd="0" presId="urn:microsoft.com/office/officeart/2005/8/layout/hierarchy2"/>
    <dgm:cxn modelId="{46B0F749-33DC-469D-83A4-21AD8B549142}" type="presParOf" srcId="{12775AD6-9158-45B1-A483-153F87A2C349}" destId="{8ECB64AE-D97B-4934-B47E-A2267DE790E7}" srcOrd="4" destOrd="0" presId="urn:microsoft.com/office/officeart/2005/8/layout/hierarchy2"/>
    <dgm:cxn modelId="{06E4614E-5292-4100-8DC4-A77EE3F9E1B7}" type="presParOf" srcId="{8ECB64AE-D97B-4934-B47E-A2267DE790E7}" destId="{D8D65DF1-8E7A-40ED-96C5-086FD4E83B70}" srcOrd="0" destOrd="0" presId="urn:microsoft.com/office/officeart/2005/8/layout/hierarchy2"/>
    <dgm:cxn modelId="{958AEDA7-82AF-4095-BD94-8E891AAA4C93}" type="presParOf" srcId="{12775AD6-9158-45B1-A483-153F87A2C349}" destId="{D78360FE-CADD-43A7-AB69-B55B91444E63}" srcOrd="5" destOrd="0" presId="urn:microsoft.com/office/officeart/2005/8/layout/hierarchy2"/>
    <dgm:cxn modelId="{99E33E22-E404-4111-855E-EE9A1C448AE4}" type="presParOf" srcId="{D78360FE-CADD-43A7-AB69-B55B91444E63}" destId="{8E11EE0D-DBE7-4602-840A-6F9BE39CBBA4}" srcOrd="0" destOrd="0" presId="urn:microsoft.com/office/officeart/2005/8/layout/hierarchy2"/>
    <dgm:cxn modelId="{A75E149E-F9B9-40C6-8A58-F4D1F5658716}" type="presParOf" srcId="{D78360FE-CADD-43A7-AB69-B55B91444E63}" destId="{6713A51F-1974-4AD8-9489-3F7E9BFE24AF}" srcOrd="1" destOrd="0" presId="urn:microsoft.com/office/officeart/2005/8/layout/hierarchy2"/>
    <dgm:cxn modelId="{B68F7E3E-66FB-4369-AC85-DC02DF28EB1E}" type="presParOf" srcId="{6713A51F-1974-4AD8-9489-3F7E9BFE24AF}" destId="{3422821C-716F-473A-ABD6-C274C74A44FA}" srcOrd="0" destOrd="0" presId="urn:microsoft.com/office/officeart/2005/8/layout/hierarchy2"/>
    <dgm:cxn modelId="{4C0D4656-1617-4695-9712-4D3B29FA2D47}" type="presParOf" srcId="{3422821C-716F-473A-ABD6-C274C74A44FA}" destId="{678F366C-7396-43C4-BE70-860D753DCB6D}" srcOrd="0" destOrd="0" presId="urn:microsoft.com/office/officeart/2005/8/layout/hierarchy2"/>
    <dgm:cxn modelId="{AC5FD510-AF53-4174-926C-9AA7D1A3543D}" type="presParOf" srcId="{6713A51F-1974-4AD8-9489-3F7E9BFE24AF}" destId="{ABFBB9AB-0782-4B3B-B168-D38FB85C68A9}" srcOrd="1" destOrd="0" presId="urn:microsoft.com/office/officeart/2005/8/layout/hierarchy2"/>
    <dgm:cxn modelId="{B3DC1D4A-5172-4A23-9B09-D86FCBB8B115}" type="presParOf" srcId="{ABFBB9AB-0782-4B3B-B168-D38FB85C68A9}" destId="{5595C1A1-625A-4F75-9DFB-F287834D17E4}" srcOrd="0" destOrd="0" presId="urn:microsoft.com/office/officeart/2005/8/layout/hierarchy2"/>
    <dgm:cxn modelId="{03BC4A0E-B15E-4BE6-B420-0B593D6A3DF2}" type="presParOf" srcId="{ABFBB9AB-0782-4B3B-B168-D38FB85C68A9}" destId="{3C34A2D5-FCAB-4589-B28D-E91376AA314C}" srcOrd="1" destOrd="0" presId="urn:microsoft.com/office/officeart/2005/8/layout/hierarchy2"/>
    <dgm:cxn modelId="{33E1D12E-5ED4-4ED1-81F9-28DB6E5FBD58}" type="presParOf" srcId="{12775AD6-9158-45B1-A483-153F87A2C349}" destId="{82E4DCA1-DE6A-4EC7-9C41-2B999698ABA9}" srcOrd="6" destOrd="0" presId="urn:microsoft.com/office/officeart/2005/8/layout/hierarchy2"/>
    <dgm:cxn modelId="{B13C9DB2-43A0-4C0B-BD4B-59FCDBC89F5B}" type="presParOf" srcId="{82E4DCA1-DE6A-4EC7-9C41-2B999698ABA9}" destId="{149D0A5A-7F56-441D-BE68-36F6DF00092A}" srcOrd="0" destOrd="0" presId="urn:microsoft.com/office/officeart/2005/8/layout/hierarchy2"/>
    <dgm:cxn modelId="{F360CA70-F161-404A-A26A-9F3F3D962D4E}" type="presParOf" srcId="{12775AD6-9158-45B1-A483-153F87A2C349}" destId="{EE9AAF72-BE7E-498E-BE13-E40EB320AD15}" srcOrd="7" destOrd="0" presId="urn:microsoft.com/office/officeart/2005/8/layout/hierarchy2"/>
    <dgm:cxn modelId="{A8699BAD-4E72-4114-86A2-A515F3E42219}" type="presParOf" srcId="{EE9AAF72-BE7E-498E-BE13-E40EB320AD15}" destId="{75CD177B-6BB0-4515-A2D9-90CF595CE576}" srcOrd="0" destOrd="0" presId="urn:microsoft.com/office/officeart/2005/8/layout/hierarchy2"/>
    <dgm:cxn modelId="{4F152181-242C-4A96-AB36-426F0F7DEBE7}" type="presParOf" srcId="{EE9AAF72-BE7E-498E-BE13-E40EB320AD15}" destId="{A9BABF3D-5640-4F79-9C83-5D644F4BA6EC}" srcOrd="1" destOrd="0" presId="urn:microsoft.com/office/officeart/2005/8/layout/hierarchy2"/>
    <dgm:cxn modelId="{1B65FF47-991E-40C2-9C9C-EAF0EC22C151}" type="presParOf" srcId="{A9BABF3D-5640-4F79-9C83-5D644F4BA6EC}" destId="{FFC56C68-E547-49F5-9F9B-1F32666A69B2}" srcOrd="0" destOrd="0" presId="urn:microsoft.com/office/officeart/2005/8/layout/hierarchy2"/>
    <dgm:cxn modelId="{E382EA2F-F13E-48D2-A50F-4334C8A6FA96}" type="presParOf" srcId="{FFC56C68-E547-49F5-9F9B-1F32666A69B2}" destId="{D0B75EC9-B58F-441B-AF41-CCDFB21F8DA9}" srcOrd="0" destOrd="0" presId="urn:microsoft.com/office/officeart/2005/8/layout/hierarchy2"/>
    <dgm:cxn modelId="{03607929-2088-4A75-BF88-7B8C4989810D}" type="presParOf" srcId="{A9BABF3D-5640-4F79-9C83-5D644F4BA6EC}" destId="{77487E8D-7E2C-4A22-BEC9-03C4BB32BD91}" srcOrd="1" destOrd="0" presId="urn:microsoft.com/office/officeart/2005/8/layout/hierarchy2"/>
    <dgm:cxn modelId="{E2525653-2A19-43CC-9680-32DEE2B2E462}" type="presParOf" srcId="{77487E8D-7E2C-4A22-BEC9-03C4BB32BD91}" destId="{074FF618-CC9B-4AA8-9F8E-1B2AA406987F}" srcOrd="0" destOrd="0" presId="urn:microsoft.com/office/officeart/2005/8/layout/hierarchy2"/>
    <dgm:cxn modelId="{FC1E7893-2789-41AD-960D-71DD5CFDCC32}" type="presParOf" srcId="{77487E8D-7E2C-4A22-BEC9-03C4BB32BD91}" destId="{0F903CAC-6998-437B-B302-C659EF94BF10}" srcOrd="1" destOrd="0" presId="urn:microsoft.com/office/officeart/2005/8/layout/hierarchy2"/>
    <dgm:cxn modelId="{09C935AB-4556-47F5-B729-0142FD996ACF}" type="presParOf" srcId="{A9BABF3D-5640-4F79-9C83-5D644F4BA6EC}" destId="{B62724A9-C854-45B7-A0DB-DDCCB3D8CD75}" srcOrd="2" destOrd="0" presId="urn:microsoft.com/office/officeart/2005/8/layout/hierarchy2"/>
    <dgm:cxn modelId="{CB84C9CD-5A7A-49B6-87E4-F7CB345EA2A5}" type="presParOf" srcId="{B62724A9-C854-45B7-A0DB-DDCCB3D8CD75}" destId="{A32ADC8C-147E-403D-AEC0-17E8C5CE7A8C}" srcOrd="0" destOrd="0" presId="urn:microsoft.com/office/officeart/2005/8/layout/hierarchy2"/>
    <dgm:cxn modelId="{90FBEDF9-F151-49DE-85CF-FA8790AAAFD3}" type="presParOf" srcId="{A9BABF3D-5640-4F79-9C83-5D644F4BA6EC}" destId="{79C2AD64-DD21-45BC-AA75-A2A0A5701166}" srcOrd="3" destOrd="0" presId="urn:microsoft.com/office/officeart/2005/8/layout/hierarchy2"/>
    <dgm:cxn modelId="{65AD081C-A13D-41AA-99B6-762489E91CB8}" type="presParOf" srcId="{79C2AD64-DD21-45BC-AA75-A2A0A5701166}" destId="{DA874016-F828-45F5-BEAE-FE04D19EE787}" srcOrd="0" destOrd="0" presId="urn:microsoft.com/office/officeart/2005/8/layout/hierarchy2"/>
    <dgm:cxn modelId="{B342445C-29D0-4190-B03B-BD5D49274C37}" type="presParOf" srcId="{79C2AD64-DD21-45BC-AA75-A2A0A5701166}" destId="{AF3757C8-3933-4CDD-B36A-25A2449357DD}" srcOrd="1" destOrd="0" presId="urn:microsoft.com/office/officeart/2005/8/layout/hierarchy2"/>
    <dgm:cxn modelId="{7682AF9B-2DFD-4B8B-86A4-F91E5544C838}" type="presParOf" srcId="{AF3757C8-3933-4CDD-B36A-25A2449357DD}" destId="{3787854E-BE45-4C28-A2A2-8B1AD1E436EA}" srcOrd="0" destOrd="0" presId="urn:microsoft.com/office/officeart/2005/8/layout/hierarchy2"/>
    <dgm:cxn modelId="{B35D9E99-0386-422F-A376-6134D96C2954}" type="presParOf" srcId="{3787854E-BE45-4C28-A2A2-8B1AD1E436EA}" destId="{9F952855-A356-44F3-8A86-AF5A699FF71F}" srcOrd="0" destOrd="0" presId="urn:microsoft.com/office/officeart/2005/8/layout/hierarchy2"/>
    <dgm:cxn modelId="{DF9B8474-4E52-46C4-8874-42A2F8A9A92D}" type="presParOf" srcId="{AF3757C8-3933-4CDD-B36A-25A2449357DD}" destId="{92274486-3B0D-4A65-8889-55544839726A}" srcOrd="1" destOrd="0" presId="urn:microsoft.com/office/officeart/2005/8/layout/hierarchy2"/>
    <dgm:cxn modelId="{3210A9FA-6F82-40E6-836C-3D9A61D6D4CA}" type="presParOf" srcId="{92274486-3B0D-4A65-8889-55544839726A}" destId="{5879FAFB-5F74-4216-A2FC-A75478C41BE5}" srcOrd="0" destOrd="0" presId="urn:microsoft.com/office/officeart/2005/8/layout/hierarchy2"/>
    <dgm:cxn modelId="{8D3B435F-457C-4AC4-A028-FEF4FBB8E298}" type="presParOf" srcId="{92274486-3B0D-4A65-8889-55544839726A}" destId="{A89FC2C5-0885-44D8-8A32-7EB800DAD007}" srcOrd="1" destOrd="0" presId="urn:microsoft.com/office/officeart/2005/8/layout/hierarchy2"/>
    <dgm:cxn modelId="{8EFCE27E-BC15-4722-862B-AEDA07B65B57}" type="presParOf" srcId="{A9BABF3D-5640-4F79-9C83-5D644F4BA6EC}" destId="{7A619CD1-99FA-4C50-8103-F0A380C4EE28}" srcOrd="4" destOrd="0" presId="urn:microsoft.com/office/officeart/2005/8/layout/hierarchy2"/>
    <dgm:cxn modelId="{25A54A16-97F6-4015-92DE-676B1798F895}" type="presParOf" srcId="{7A619CD1-99FA-4C50-8103-F0A380C4EE28}" destId="{FA9547AA-A215-42B0-AF88-731EFDEFAF24}" srcOrd="0" destOrd="0" presId="urn:microsoft.com/office/officeart/2005/8/layout/hierarchy2"/>
    <dgm:cxn modelId="{4C20D70F-9EF6-4361-ADED-6C74B37C7506}" type="presParOf" srcId="{A9BABF3D-5640-4F79-9C83-5D644F4BA6EC}" destId="{84E31C2A-D6C9-47D0-95F2-3C7E6B46B594}" srcOrd="5" destOrd="0" presId="urn:microsoft.com/office/officeart/2005/8/layout/hierarchy2"/>
    <dgm:cxn modelId="{B1BD4339-FFEF-49F4-9757-BB73E0B4070D}" type="presParOf" srcId="{84E31C2A-D6C9-47D0-95F2-3C7E6B46B594}" destId="{E5B2DE51-F325-4DAE-A2DD-354F947CFE10}" srcOrd="0" destOrd="0" presId="urn:microsoft.com/office/officeart/2005/8/layout/hierarchy2"/>
    <dgm:cxn modelId="{75ECE02C-6C47-4658-A97E-527DA151C8AA}" type="presParOf" srcId="{84E31C2A-D6C9-47D0-95F2-3C7E6B46B594}" destId="{C351A4C5-CCC5-43AE-8378-36527BA0E17C}" srcOrd="1" destOrd="0" presId="urn:microsoft.com/office/officeart/2005/8/layout/hierarchy2"/>
    <dgm:cxn modelId="{6FB0ED52-AA03-43A6-998E-FE8AA732A374}" type="presParOf" srcId="{A9BABF3D-5640-4F79-9C83-5D644F4BA6EC}" destId="{DFC3668B-03BB-425A-B237-C5BC1F55319D}" srcOrd="6" destOrd="0" presId="urn:microsoft.com/office/officeart/2005/8/layout/hierarchy2"/>
    <dgm:cxn modelId="{FC2FF3D1-9675-4035-9699-6B383D84FB5A}" type="presParOf" srcId="{DFC3668B-03BB-425A-B237-C5BC1F55319D}" destId="{A4993B9E-5B3F-4DE4-8852-D3381A16EA40}" srcOrd="0" destOrd="0" presId="urn:microsoft.com/office/officeart/2005/8/layout/hierarchy2"/>
    <dgm:cxn modelId="{CFDD5BDE-E174-4281-A35B-9CBF66E70C5E}" type="presParOf" srcId="{A9BABF3D-5640-4F79-9C83-5D644F4BA6EC}" destId="{0CFE71ED-25B3-4AAB-8FBF-F0FDE2D48C61}" srcOrd="7" destOrd="0" presId="urn:microsoft.com/office/officeart/2005/8/layout/hierarchy2"/>
    <dgm:cxn modelId="{43BE90CB-F182-401F-9F60-B02FE92821EB}" type="presParOf" srcId="{0CFE71ED-25B3-4AAB-8FBF-F0FDE2D48C61}" destId="{29B6B637-81BC-476F-A724-77A32D4E92A0}" srcOrd="0" destOrd="0" presId="urn:microsoft.com/office/officeart/2005/8/layout/hierarchy2"/>
    <dgm:cxn modelId="{F4B03287-CCA7-44F1-B6CE-0F9958FF0F76}" type="presParOf" srcId="{0CFE71ED-25B3-4AAB-8FBF-F0FDE2D48C61}" destId="{AF35137A-2D4D-4BD5-AC81-41F8452E1D5F}" srcOrd="1" destOrd="0" presId="urn:microsoft.com/office/officeart/2005/8/layout/hierarchy2"/>
    <dgm:cxn modelId="{7C92B2AB-A0E3-4A48-9356-0EE634A655BE}" type="presParOf" srcId="{A9BABF3D-5640-4F79-9C83-5D644F4BA6EC}" destId="{72624831-0085-4C0F-9902-161E1F891B58}" srcOrd="8" destOrd="0" presId="urn:microsoft.com/office/officeart/2005/8/layout/hierarchy2"/>
    <dgm:cxn modelId="{E5F7AE81-FE6E-45CD-B86E-D656F3893964}" type="presParOf" srcId="{72624831-0085-4C0F-9902-161E1F891B58}" destId="{8FBCC7AC-2BCC-473B-9031-9E9CA3D1B6A7}" srcOrd="0" destOrd="0" presId="urn:microsoft.com/office/officeart/2005/8/layout/hierarchy2"/>
    <dgm:cxn modelId="{2BD71804-573B-47B1-A349-ABE1A5DFA33D}" type="presParOf" srcId="{A9BABF3D-5640-4F79-9C83-5D644F4BA6EC}" destId="{5D0E02D8-BD58-4932-945D-B7B487FB791C}" srcOrd="9" destOrd="0" presId="urn:microsoft.com/office/officeart/2005/8/layout/hierarchy2"/>
    <dgm:cxn modelId="{84D42A05-281A-4A15-BFEE-BB02008B24F9}" type="presParOf" srcId="{5D0E02D8-BD58-4932-945D-B7B487FB791C}" destId="{E4311872-4433-4B07-BDC2-59690B903B5B}" srcOrd="0" destOrd="0" presId="urn:microsoft.com/office/officeart/2005/8/layout/hierarchy2"/>
    <dgm:cxn modelId="{17E84947-908F-40D8-88F0-1E29F7BA66A0}" type="presParOf" srcId="{5D0E02D8-BD58-4932-945D-B7B487FB791C}" destId="{E1768A9F-541A-4D63-BBDB-E29FB4EBF31C}" srcOrd="1" destOrd="0" presId="urn:microsoft.com/office/officeart/2005/8/layout/hierarchy2"/>
    <dgm:cxn modelId="{8297C24D-F5A4-49D5-81CB-EABA3A93B95F}" type="presParOf" srcId="{02AAFD45-72FD-484F-AD1F-284AAC002892}" destId="{01776CFA-159D-4D36-A183-311F5C151BBE}" srcOrd="2" destOrd="0" presId="urn:microsoft.com/office/officeart/2005/8/layout/hierarchy2"/>
    <dgm:cxn modelId="{4A53689E-536F-4F97-B132-9D8466E52F2A}" type="presParOf" srcId="{01776CFA-159D-4D36-A183-311F5C151BBE}" destId="{3FA86979-A3C5-4695-80F6-22819D1DEAE2}" srcOrd="0" destOrd="0" presId="urn:microsoft.com/office/officeart/2005/8/layout/hierarchy2"/>
    <dgm:cxn modelId="{327AE0BA-9EDB-493D-94DA-6914665EA627}" type="presParOf" srcId="{01776CFA-159D-4D36-A183-311F5C151BBE}" destId="{3CA54160-AF29-4DF9-903D-562749C515B3}" srcOrd="1" destOrd="0" presId="urn:microsoft.com/office/officeart/2005/8/layout/hierarchy2"/>
    <dgm:cxn modelId="{A3133314-F235-483F-A19D-60015FEE2C5F}" type="presParOf" srcId="{3CA54160-AF29-4DF9-903D-562749C515B3}" destId="{15F258B3-B0E3-4F97-AAFE-3EC4716A5CBD}" srcOrd="0" destOrd="0" presId="urn:microsoft.com/office/officeart/2005/8/layout/hierarchy2"/>
    <dgm:cxn modelId="{3B3EED70-E363-4BE9-9AB9-2F9B16D1E696}" type="presParOf" srcId="{15F258B3-B0E3-4F97-AAFE-3EC4716A5CBD}" destId="{EBEA2B9D-5AFC-4E61-932F-97E5D541EBBE}" srcOrd="0" destOrd="0" presId="urn:microsoft.com/office/officeart/2005/8/layout/hierarchy2"/>
    <dgm:cxn modelId="{135484E2-7BF0-49AD-B23D-9897B255EA38}" type="presParOf" srcId="{3CA54160-AF29-4DF9-903D-562749C515B3}" destId="{67D34277-D58B-4D20-A59F-0D824FE876C0}" srcOrd="1" destOrd="0" presId="urn:microsoft.com/office/officeart/2005/8/layout/hierarchy2"/>
    <dgm:cxn modelId="{1E0AE7E0-C374-44B7-9380-5ECE40F3FE81}" type="presParOf" srcId="{67D34277-D58B-4D20-A59F-0D824FE876C0}" destId="{14CF5DA2-5C84-4827-B221-359F994E2FE5}" srcOrd="0" destOrd="0" presId="urn:microsoft.com/office/officeart/2005/8/layout/hierarchy2"/>
    <dgm:cxn modelId="{0144114D-2113-468C-82E0-B23DB6807848}" type="presParOf" srcId="{67D34277-D58B-4D20-A59F-0D824FE876C0}" destId="{E48BEBEB-865C-4A9A-9C79-13DC42AAD5AB}" srcOrd="1" destOrd="0" presId="urn:microsoft.com/office/officeart/2005/8/layout/hierarchy2"/>
    <dgm:cxn modelId="{08E0ADDA-A484-4D87-BBB4-CBB1FEAFE6AF}" type="presParOf" srcId="{02AAFD45-72FD-484F-AD1F-284AAC002892}" destId="{09EFA4D6-1690-4AC1-8579-5AA1F1823F0F}" srcOrd="3" destOrd="0" presId="urn:microsoft.com/office/officeart/2005/8/layout/hierarchy2"/>
    <dgm:cxn modelId="{0BE7CFAC-62F5-45F4-8234-0F52E9549868}" type="presParOf" srcId="{09EFA4D6-1690-4AC1-8579-5AA1F1823F0F}" destId="{B2950AC5-B526-494F-9B58-A8072A16E28A}" srcOrd="0" destOrd="0" presId="urn:microsoft.com/office/officeart/2005/8/layout/hierarchy2"/>
    <dgm:cxn modelId="{E00CB4C7-B33C-432F-9A0D-43FA07EF7590}" type="presParOf" srcId="{09EFA4D6-1690-4AC1-8579-5AA1F1823F0F}" destId="{D8F80545-FB80-4DA5-852F-CBD6F981DE00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BFA62CD-35FD-4B1F-AE75-78A3B75732AB}">
      <dsp:nvSpPr>
        <dsp:cNvPr id="0" name=""/>
        <dsp:cNvSpPr/>
      </dsp:nvSpPr>
      <dsp:spPr>
        <a:xfrm>
          <a:off x="63485" y="0"/>
          <a:ext cx="1197239" cy="598619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B9B9B9"/>
            </a:gs>
            <a:gs pos="50000">
              <a:srgbClr val="B0B0B0"/>
            </a:gs>
            <a:gs pos="100000">
              <a:srgbClr val="9C9C9C"/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1" kern="1200" dirty="0" smtClean="0">
              <a:ln>
                <a:noFill/>
              </a:ln>
              <a:solidFill>
                <a:sysClr val="windowText" lastClr="000000"/>
              </a:solidFill>
            </a:rPr>
            <a:t>vinst:</a:t>
          </a:r>
          <a:r>
            <a:rPr lang="de-DE" sz="1000" kern="1200" dirty="0" smtClean="0">
              <a:ln>
                <a:noFill/>
              </a:ln>
              <a:solidFill>
                <a:sysClr val="windowText" lastClr="000000"/>
              </a:solidFill>
            </a:rPr>
            <a:t/>
          </a:r>
          <a:br>
            <a:rPr lang="de-DE" sz="1000" kern="1200" dirty="0" smtClean="0">
              <a:ln>
                <a:noFill/>
              </a:ln>
              <a:solidFill>
                <a:sysClr val="windowText" lastClr="000000"/>
              </a:solidFill>
            </a:rPr>
          </a:br>
          <a:r>
            <a:rPr lang="de-DE" sz="1000" kern="1200" dirty="0" smtClean="0">
              <a:ln>
                <a:noFill/>
              </a:ln>
              <a:solidFill>
                <a:sysClr val="windowText" lastClr="000000"/>
              </a:solidFill>
            </a:rPr>
            <a:t>Conda environment and installer</a:t>
          </a:r>
          <a:endParaRPr lang="de-DE" sz="1000" kern="1200" dirty="0">
            <a:ln>
              <a:noFill/>
            </a:ln>
            <a:solidFill>
              <a:sysClr val="windowText" lastClr="000000"/>
            </a:solidFill>
          </a:endParaRPr>
        </a:p>
      </dsp:txBody>
      <dsp:txXfrm>
        <a:off x="81018" y="17533"/>
        <a:ext cx="1162173" cy="563553"/>
      </dsp:txXfrm>
    </dsp:sp>
    <dsp:sp modelId="{B7BDA79A-C414-4C6E-8004-BA9A988FF82B}">
      <dsp:nvSpPr>
        <dsp:cNvPr id="0" name=""/>
        <dsp:cNvSpPr/>
      </dsp:nvSpPr>
      <dsp:spPr>
        <a:xfrm>
          <a:off x="63485" y="1379260"/>
          <a:ext cx="1197239" cy="59861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1" kern="1200" dirty="0" err="1" smtClean="0"/>
            <a:t>vimrg</a:t>
          </a:r>
          <a:r>
            <a:rPr lang="de-DE" sz="1000" b="1" kern="1200" dirty="0" smtClean="0"/>
            <a:t>:</a:t>
          </a:r>
        </a:p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kern="1200" dirty="0" err="1" smtClean="0"/>
            <a:t>Overspanning</a:t>
          </a:r>
          <a:r>
            <a:rPr lang="de-DE" sz="1000" kern="1200" dirty="0" smtClean="0"/>
            <a:t/>
          </a:r>
          <a:br>
            <a:rPr lang="de-DE" sz="1000" kern="1200" dirty="0" smtClean="0"/>
          </a:br>
          <a:r>
            <a:rPr lang="de-DE" sz="1000" kern="1200" dirty="0" err="1" smtClean="0"/>
            <a:t>user</a:t>
          </a:r>
          <a:r>
            <a:rPr lang="de-DE" sz="1000" kern="1200" dirty="0" smtClean="0"/>
            <a:t> </a:t>
          </a:r>
          <a:r>
            <a:rPr lang="de-DE" sz="1000" kern="1200" dirty="0" err="1" smtClean="0"/>
            <a:t>interface</a:t>
          </a:r>
          <a:endParaRPr lang="de-DE" sz="1000" kern="1200" dirty="0"/>
        </a:p>
      </dsp:txBody>
      <dsp:txXfrm>
        <a:off x="81018" y="1396793"/>
        <a:ext cx="1162173" cy="563553"/>
      </dsp:txXfrm>
    </dsp:sp>
    <dsp:sp modelId="{904108CE-50A0-4FEA-95A1-63972222CB37}">
      <dsp:nvSpPr>
        <dsp:cNvPr id="0" name=""/>
        <dsp:cNvSpPr/>
      </dsp:nvSpPr>
      <dsp:spPr>
        <a:xfrm rot="17349304">
          <a:off x="770429" y="979286"/>
          <a:ext cx="1459487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1459487" y="9942"/>
              </a:lnTo>
            </a:path>
          </a:pathLst>
        </a:custGeom>
        <a:noFill/>
        <a:ln w="2857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1463686" y="952742"/>
        <a:ext cx="72974" cy="72974"/>
      </dsp:txXfrm>
    </dsp:sp>
    <dsp:sp modelId="{52C62817-2426-41FE-A825-9021C64D129C}">
      <dsp:nvSpPr>
        <dsp:cNvPr id="0" name=""/>
        <dsp:cNvSpPr/>
      </dsp:nvSpPr>
      <dsp:spPr>
        <a:xfrm>
          <a:off x="1739621" y="578"/>
          <a:ext cx="1197239" cy="59861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satMod val="103000"/>
                <a:lumMod val="102000"/>
                <a:tint val="94000"/>
              </a:schemeClr>
            </a:gs>
            <a:gs pos="50000">
              <a:schemeClr val="accent4">
                <a:satMod val="110000"/>
                <a:lumMod val="100000"/>
                <a:shade val="100000"/>
              </a:schemeClr>
            </a:gs>
            <a:gs pos="100000">
              <a:schemeClr val="accent4"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1" kern="1200" dirty="0" err="1" smtClean="0">
              <a:solidFill>
                <a:sysClr val="windowText" lastClr="000000"/>
              </a:solidFill>
            </a:rPr>
            <a:t>vilib</a:t>
          </a:r>
          <a:r>
            <a:rPr lang="de-DE" sz="1000" b="1" kern="1200" dirty="0" smtClean="0">
              <a:solidFill>
                <a:sysClr val="windowText" lastClr="000000"/>
              </a:solidFill>
            </a:rPr>
            <a:t>:</a:t>
          </a:r>
          <a:r>
            <a:rPr lang="de-DE" sz="1000" kern="1200" dirty="0" smtClean="0">
              <a:solidFill>
                <a:sysClr val="windowText" lastClr="000000"/>
              </a:solidFill>
            </a:rPr>
            <a:t/>
          </a:r>
          <a:br>
            <a:rPr lang="de-DE" sz="1000" kern="1200" dirty="0" smtClean="0">
              <a:solidFill>
                <a:sysClr val="windowText" lastClr="000000"/>
              </a:solidFill>
            </a:rPr>
          </a:br>
          <a:r>
            <a:rPr lang="de-DE" sz="1000" kern="1200" dirty="0" err="1" smtClean="0">
              <a:solidFill>
                <a:sysClr val="windowText" lastClr="000000"/>
              </a:solidFill>
            </a:rPr>
            <a:t>Shared</a:t>
          </a:r>
          <a:r>
            <a:rPr lang="de-DE" sz="1000" kern="1200" dirty="0" smtClean="0">
              <a:solidFill>
                <a:sysClr val="windowText" lastClr="000000"/>
              </a:solidFill>
            </a:rPr>
            <a:t> </a:t>
          </a:r>
          <a:r>
            <a:rPr lang="de-DE" sz="1000" kern="1200" dirty="0" err="1" smtClean="0">
              <a:solidFill>
                <a:sysClr val="windowText" lastClr="000000"/>
              </a:solidFill>
            </a:rPr>
            <a:t>library</a:t>
          </a:r>
          <a:endParaRPr lang="de-DE" sz="1000" kern="1200" dirty="0">
            <a:solidFill>
              <a:sysClr val="windowText" lastClr="000000"/>
            </a:solidFill>
          </a:endParaRPr>
        </a:p>
      </dsp:txBody>
      <dsp:txXfrm>
        <a:off x="1757154" y="18111"/>
        <a:ext cx="1162173" cy="563553"/>
      </dsp:txXfrm>
    </dsp:sp>
    <dsp:sp modelId="{47C3EF35-AD04-4B88-8B91-CDC89CA6E682}">
      <dsp:nvSpPr>
        <dsp:cNvPr id="0" name=""/>
        <dsp:cNvSpPr/>
      </dsp:nvSpPr>
      <dsp:spPr>
        <a:xfrm rot="18285133">
          <a:off x="1080110" y="1323493"/>
          <a:ext cx="840126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840126" y="9942"/>
              </a:lnTo>
            </a:path>
          </a:pathLst>
        </a:custGeom>
        <a:noFill/>
        <a:ln w="2857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1479170" y="1312432"/>
        <a:ext cx="42006" cy="42006"/>
      </dsp:txXfrm>
    </dsp:sp>
    <dsp:sp modelId="{F040D676-9CBE-435A-BDD1-21538579082D}">
      <dsp:nvSpPr>
        <dsp:cNvPr id="0" name=""/>
        <dsp:cNvSpPr/>
      </dsp:nvSpPr>
      <dsp:spPr>
        <a:xfrm>
          <a:off x="1739621" y="688991"/>
          <a:ext cx="1197239" cy="59861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2">
                <a:satMod val="103000"/>
                <a:lumMod val="102000"/>
                <a:tint val="94000"/>
              </a:schemeClr>
            </a:gs>
            <a:gs pos="50000">
              <a:schemeClr val="accent2">
                <a:satMod val="110000"/>
                <a:lumMod val="100000"/>
                <a:shade val="100000"/>
              </a:schemeClr>
            </a:gs>
            <a:gs pos="100000">
              <a:schemeClr val="accent2"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1" kern="1200" dirty="0" err="1" smtClean="0">
              <a:solidFill>
                <a:sysClr val="windowText" lastClr="000000"/>
              </a:solidFill>
            </a:rPr>
            <a:t>vires</a:t>
          </a:r>
          <a:r>
            <a:rPr lang="de-DE" sz="1000" b="1" kern="1200" dirty="0" smtClean="0">
              <a:solidFill>
                <a:sysClr val="windowText" lastClr="000000"/>
              </a:solidFill>
            </a:rPr>
            <a:t>:</a:t>
          </a:r>
          <a:r>
            <a:rPr lang="de-DE" sz="1000" kern="1200" dirty="0" smtClean="0">
              <a:solidFill>
                <a:sysClr val="windowText" lastClr="000000"/>
              </a:solidFill>
            </a:rPr>
            <a:t/>
          </a:r>
          <a:br>
            <a:rPr lang="de-DE" sz="1000" kern="1200" dirty="0" smtClean="0">
              <a:solidFill>
                <a:sysClr val="windowText" lastClr="000000"/>
              </a:solidFill>
            </a:rPr>
          </a:br>
          <a:r>
            <a:rPr lang="de-DE" sz="1000" kern="1200" dirty="0" smtClean="0">
              <a:solidFill>
                <a:sysClr val="windowText" lastClr="000000"/>
              </a:solidFill>
            </a:rPr>
            <a:t>Icons </a:t>
          </a:r>
          <a:r>
            <a:rPr lang="de-DE" sz="1000" kern="1200" dirty="0" err="1" smtClean="0">
              <a:solidFill>
                <a:sysClr val="windowText" lastClr="000000"/>
              </a:solidFill>
            </a:rPr>
            <a:t>and</a:t>
          </a:r>
          <a:r>
            <a:rPr lang="de-DE" sz="1000" kern="1200" dirty="0" smtClean="0">
              <a:solidFill>
                <a:sysClr val="windowText" lastClr="000000"/>
              </a:solidFill>
            </a:rPr>
            <a:t> </a:t>
          </a:r>
          <a:r>
            <a:rPr lang="de-DE" sz="1000" kern="1200" dirty="0" err="1" smtClean="0">
              <a:solidFill>
                <a:sysClr val="windowText" lastClr="000000"/>
              </a:solidFill>
            </a:rPr>
            <a:t>graphics</a:t>
          </a:r>
          <a:endParaRPr lang="de-DE" sz="1000" kern="1200" dirty="0">
            <a:solidFill>
              <a:sysClr val="windowText" lastClr="000000"/>
            </a:solidFill>
          </a:endParaRPr>
        </a:p>
      </dsp:txBody>
      <dsp:txXfrm>
        <a:off x="1757154" y="706524"/>
        <a:ext cx="1162173" cy="563553"/>
      </dsp:txXfrm>
    </dsp:sp>
    <dsp:sp modelId="{8ECB64AE-D97B-4934-B47E-A2267DE790E7}">
      <dsp:nvSpPr>
        <dsp:cNvPr id="0" name=""/>
        <dsp:cNvSpPr/>
      </dsp:nvSpPr>
      <dsp:spPr>
        <a:xfrm rot="21586679">
          <a:off x="1260723" y="1667699"/>
          <a:ext cx="478899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478899" y="9942"/>
              </a:lnTo>
            </a:path>
          </a:pathLst>
        </a:custGeom>
        <a:noFill/>
        <a:ln w="2857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1488200" y="1665669"/>
        <a:ext cx="23944" cy="23944"/>
      </dsp:txXfrm>
    </dsp:sp>
    <dsp:sp modelId="{8E11EE0D-DBE7-4602-840A-6F9BE39CBBA4}">
      <dsp:nvSpPr>
        <dsp:cNvPr id="0" name=""/>
        <dsp:cNvSpPr/>
      </dsp:nvSpPr>
      <dsp:spPr>
        <a:xfrm>
          <a:off x="1739621" y="1377404"/>
          <a:ext cx="1197239" cy="59861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satMod val="103000"/>
                <a:lumMod val="102000"/>
                <a:tint val="94000"/>
              </a:schemeClr>
            </a:gs>
            <a:gs pos="50000">
              <a:schemeClr val="accent3">
                <a:satMod val="110000"/>
                <a:lumMod val="100000"/>
                <a:shade val="100000"/>
              </a:schemeClr>
            </a:gs>
            <a:gs pos="100000">
              <a:schemeClr val="accent3"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1" kern="1200" dirty="0" err="1" smtClean="0"/>
            <a:t>vicli</a:t>
          </a:r>
          <a:r>
            <a:rPr lang="de-DE" sz="1000" b="1" kern="1200" dirty="0" smtClean="0"/>
            <a:t>:</a:t>
          </a:r>
          <a:r>
            <a:rPr lang="de-DE" sz="1000" kern="1200" dirty="0" smtClean="0"/>
            <a:t/>
          </a:r>
          <a:br>
            <a:rPr lang="de-DE" sz="1000" kern="1200" dirty="0" smtClean="0"/>
          </a:br>
          <a:r>
            <a:rPr lang="de-DE" sz="1000" kern="1200" dirty="0" smtClean="0"/>
            <a:t>User </a:t>
          </a:r>
          <a:r>
            <a:rPr lang="de-DE" sz="1000" kern="1200" dirty="0" err="1" smtClean="0"/>
            <a:t>interface</a:t>
          </a:r>
          <a:r>
            <a:rPr lang="de-DE" sz="1000" kern="1200" dirty="0" smtClean="0"/>
            <a:t/>
          </a:r>
          <a:br>
            <a:rPr lang="de-DE" sz="1000" kern="1200" dirty="0" smtClean="0"/>
          </a:br>
          <a:r>
            <a:rPr lang="de-DE" sz="1000" kern="1200" dirty="0" err="1" smtClean="0"/>
            <a:t>for</a:t>
          </a:r>
          <a:r>
            <a:rPr lang="de-DE" sz="1000" kern="1200" dirty="0" smtClean="0"/>
            <a:t> </a:t>
          </a:r>
          <a:r>
            <a:rPr lang="de-DE" sz="1000" kern="1200" dirty="0" err="1" smtClean="0"/>
            <a:t>slow</a:t>
          </a:r>
          <a:r>
            <a:rPr lang="de-DE" sz="1000" kern="1200" dirty="0" smtClean="0"/>
            <a:t> </a:t>
          </a:r>
          <a:r>
            <a:rPr lang="de-DE" sz="1000" kern="1200" dirty="0" err="1" smtClean="0"/>
            <a:t>control</a:t>
          </a:r>
          <a:endParaRPr lang="de-DE" sz="1000" kern="1200" dirty="0"/>
        </a:p>
      </dsp:txBody>
      <dsp:txXfrm>
        <a:off x="1757154" y="1394937"/>
        <a:ext cx="1162173" cy="563553"/>
      </dsp:txXfrm>
    </dsp:sp>
    <dsp:sp modelId="{3422821C-716F-473A-ABD6-C274C74A44FA}">
      <dsp:nvSpPr>
        <dsp:cNvPr id="0" name=""/>
        <dsp:cNvSpPr/>
      </dsp:nvSpPr>
      <dsp:spPr>
        <a:xfrm>
          <a:off x="2936860" y="1666771"/>
          <a:ext cx="478895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478895" y="9942"/>
              </a:lnTo>
            </a:path>
          </a:pathLst>
        </a:custGeom>
        <a:noFill/>
        <a:ln w="2857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3164336" y="1664741"/>
        <a:ext cx="23944" cy="23944"/>
      </dsp:txXfrm>
    </dsp:sp>
    <dsp:sp modelId="{5595C1A1-625A-4F75-9DFB-F287834D17E4}">
      <dsp:nvSpPr>
        <dsp:cNvPr id="0" name=""/>
        <dsp:cNvSpPr/>
      </dsp:nvSpPr>
      <dsp:spPr>
        <a:xfrm>
          <a:off x="3415756" y="1377404"/>
          <a:ext cx="1197239" cy="59861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satMod val="103000"/>
                <a:lumMod val="102000"/>
                <a:tint val="94000"/>
              </a:schemeClr>
            </a:gs>
            <a:gs pos="50000">
              <a:schemeClr val="accent4">
                <a:satMod val="110000"/>
                <a:lumMod val="100000"/>
                <a:shade val="100000"/>
              </a:schemeClr>
            </a:gs>
            <a:gs pos="100000">
              <a:schemeClr val="accent4"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1" kern="1200" dirty="0" err="1" smtClean="0">
              <a:solidFill>
                <a:sysClr val="windowText" lastClr="000000"/>
              </a:solidFill>
            </a:rPr>
            <a:t>vilib</a:t>
          </a:r>
          <a:r>
            <a:rPr lang="de-DE" sz="1000" b="1" kern="1200" dirty="0" smtClean="0">
              <a:solidFill>
                <a:sysClr val="windowText" lastClr="000000"/>
              </a:solidFill>
            </a:rPr>
            <a:t>:</a:t>
          </a:r>
          <a:r>
            <a:rPr lang="de-DE" sz="1000" kern="1200" dirty="0" smtClean="0">
              <a:solidFill>
                <a:sysClr val="windowText" lastClr="000000"/>
              </a:solidFill>
            </a:rPr>
            <a:t/>
          </a:r>
          <a:br>
            <a:rPr lang="de-DE" sz="1000" kern="1200" dirty="0" smtClean="0">
              <a:solidFill>
                <a:sysClr val="windowText" lastClr="000000"/>
              </a:solidFill>
            </a:rPr>
          </a:br>
          <a:r>
            <a:rPr lang="de-DE" sz="1000" kern="1200" dirty="0" err="1" smtClean="0">
              <a:solidFill>
                <a:sysClr val="windowText" lastClr="000000"/>
              </a:solidFill>
            </a:rPr>
            <a:t>Shared</a:t>
          </a:r>
          <a:r>
            <a:rPr lang="de-DE" sz="1000" kern="1200" dirty="0" smtClean="0">
              <a:solidFill>
                <a:sysClr val="windowText" lastClr="000000"/>
              </a:solidFill>
            </a:rPr>
            <a:t> </a:t>
          </a:r>
          <a:r>
            <a:rPr lang="de-DE" sz="1000" kern="1200" dirty="0" err="1" smtClean="0">
              <a:solidFill>
                <a:sysClr val="windowText" lastClr="000000"/>
              </a:solidFill>
            </a:rPr>
            <a:t>library</a:t>
          </a:r>
          <a:endParaRPr lang="de-DE" sz="1000" kern="1200" dirty="0">
            <a:solidFill>
              <a:sysClr val="windowText" lastClr="000000"/>
            </a:solidFill>
          </a:endParaRPr>
        </a:p>
      </dsp:txBody>
      <dsp:txXfrm>
        <a:off x="3433289" y="1394937"/>
        <a:ext cx="1162173" cy="563553"/>
      </dsp:txXfrm>
    </dsp:sp>
    <dsp:sp modelId="{82E4DCA1-DE6A-4EC7-9C41-2B999698ABA9}">
      <dsp:nvSpPr>
        <dsp:cNvPr id="0" name=""/>
        <dsp:cNvSpPr/>
      </dsp:nvSpPr>
      <dsp:spPr>
        <a:xfrm rot="4616005">
          <a:off x="441059" y="2700318"/>
          <a:ext cx="2118227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2118227" y="9942"/>
              </a:lnTo>
            </a:path>
          </a:pathLst>
        </a:custGeom>
        <a:noFill/>
        <a:ln w="2857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800" kern="1200"/>
        </a:p>
      </dsp:txBody>
      <dsp:txXfrm>
        <a:off x="1447217" y="2657305"/>
        <a:ext cx="105911" cy="105911"/>
      </dsp:txXfrm>
    </dsp:sp>
    <dsp:sp modelId="{75CD177B-6BB0-4515-A2D9-90CF595CE576}">
      <dsp:nvSpPr>
        <dsp:cNvPr id="0" name=""/>
        <dsp:cNvSpPr/>
      </dsp:nvSpPr>
      <dsp:spPr>
        <a:xfrm>
          <a:off x="1739621" y="3442642"/>
          <a:ext cx="1197239" cy="59861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satMod val="103000"/>
                <a:lumMod val="102000"/>
                <a:tint val="94000"/>
              </a:schemeClr>
            </a:gs>
            <a:gs pos="50000">
              <a:schemeClr val="accent6">
                <a:satMod val="110000"/>
                <a:lumMod val="100000"/>
                <a:shade val="100000"/>
              </a:schemeClr>
            </a:gs>
            <a:gs pos="100000">
              <a:schemeClr val="accent6"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1" kern="1200" dirty="0" err="1" smtClean="0">
              <a:solidFill>
                <a:sysClr val="windowText" lastClr="000000"/>
              </a:solidFill>
            </a:rPr>
            <a:t>vasic</a:t>
          </a:r>
          <a:r>
            <a:rPr lang="de-DE" sz="1000" b="1" kern="1200" dirty="0" smtClean="0">
              <a:solidFill>
                <a:sysClr val="windowText" lastClr="000000"/>
              </a:solidFill>
            </a:rPr>
            <a:t>:</a:t>
          </a:r>
          <a:r>
            <a:rPr lang="de-DE" sz="1000" kern="1200" dirty="0" smtClean="0">
              <a:solidFill>
                <a:sysClr val="windowText" lastClr="000000"/>
              </a:solidFill>
            </a:rPr>
            <a:t/>
          </a:r>
          <a:br>
            <a:rPr lang="de-DE" sz="1000" kern="1200" dirty="0" smtClean="0">
              <a:solidFill>
                <a:sysClr val="windowText" lastClr="000000"/>
              </a:solidFill>
            </a:rPr>
          </a:br>
          <a:r>
            <a:rPr lang="de-DE" sz="1000" kern="1200" dirty="0" smtClean="0">
              <a:solidFill>
                <a:sysClr val="windowText" lastClr="000000"/>
              </a:solidFill>
            </a:rPr>
            <a:t>User </a:t>
          </a:r>
          <a:r>
            <a:rPr lang="de-DE" sz="1000" kern="1200" dirty="0" err="1" smtClean="0">
              <a:solidFill>
                <a:sysClr val="windowText" lastClr="000000"/>
              </a:solidFill>
            </a:rPr>
            <a:t>interface</a:t>
          </a:r>
          <a:r>
            <a:rPr lang="de-DE" sz="1000" kern="1200" dirty="0" smtClean="0">
              <a:solidFill>
                <a:sysClr val="windowText" lastClr="000000"/>
              </a:solidFill>
            </a:rPr>
            <a:t> </a:t>
          </a:r>
          <a:r>
            <a:rPr lang="de-DE" sz="1000" kern="1200" dirty="0" err="1" smtClean="0">
              <a:solidFill>
                <a:sysClr val="windowText" lastClr="000000"/>
              </a:solidFill>
            </a:rPr>
            <a:t>for</a:t>
          </a:r>
          <a:r>
            <a:rPr lang="de-DE" sz="1000" kern="1200" dirty="0" smtClean="0">
              <a:solidFill>
                <a:sysClr val="windowText" lastClr="000000"/>
              </a:solidFill>
            </a:rPr>
            <a:t/>
          </a:r>
          <a:br>
            <a:rPr lang="de-DE" sz="1000" kern="1200" dirty="0" smtClean="0">
              <a:solidFill>
                <a:sysClr val="windowText" lastClr="000000"/>
              </a:solidFill>
            </a:rPr>
          </a:br>
          <a:r>
            <a:rPr lang="de-DE" sz="1000" kern="1200" dirty="0" smtClean="0">
              <a:solidFill>
                <a:sysClr val="windowText" lastClr="000000"/>
              </a:solidFill>
            </a:rPr>
            <a:t>ASIC </a:t>
          </a:r>
          <a:r>
            <a:rPr lang="de-DE" sz="1000" kern="1200" dirty="0" err="1" smtClean="0">
              <a:solidFill>
                <a:sysClr val="windowText" lastClr="000000"/>
              </a:solidFill>
            </a:rPr>
            <a:t>control</a:t>
          </a:r>
          <a:endParaRPr lang="de-DE" sz="1000" kern="1200" dirty="0">
            <a:solidFill>
              <a:sysClr val="windowText" lastClr="000000"/>
            </a:solidFill>
          </a:endParaRPr>
        </a:p>
      </dsp:txBody>
      <dsp:txXfrm>
        <a:off x="1757154" y="3460175"/>
        <a:ext cx="1162173" cy="563553"/>
      </dsp:txXfrm>
    </dsp:sp>
    <dsp:sp modelId="{FFC56C68-E547-49F5-9F9B-1F32666A69B2}">
      <dsp:nvSpPr>
        <dsp:cNvPr id="0" name=""/>
        <dsp:cNvSpPr/>
      </dsp:nvSpPr>
      <dsp:spPr>
        <a:xfrm rot="17350740">
          <a:off x="2447441" y="3043597"/>
          <a:ext cx="1457734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1457734" y="9942"/>
              </a:lnTo>
            </a:path>
          </a:pathLst>
        </a:custGeom>
        <a:noFill/>
        <a:ln w="2857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3139865" y="3017096"/>
        <a:ext cx="72886" cy="72886"/>
      </dsp:txXfrm>
    </dsp:sp>
    <dsp:sp modelId="{074FF618-CC9B-4AA8-9F8E-1B2AA406987F}">
      <dsp:nvSpPr>
        <dsp:cNvPr id="0" name=""/>
        <dsp:cNvSpPr/>
      </dsp:nvSpPr>
      <dsp:spPr>
        <a:xfrm>
          <a:off x="3415756" y="2065817"/>
          <a:ext cx="1197239" cy="59861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satMod val="103000"/>
                <a:lumMod val="102000"/>
                <a:tint val="94000"/>
              </a:schemeClr>
            </a:gs>
            <a:gs pos="50000">
              <a:schemeClr val="accent4">
                <a:satMod val="110000"/>
                <a:lumMod val="100000"/>
                <a:shade val="100000"/>
              </a:schemeClr>
            </a:gs>
            <a:gs pos="100000">
              <a:schemeClr val="accent4"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1" kern="1200" dirty="0" err="1" smtClean="0">
              <a:solidFill>
                <a:sysClr val="windowText" lastClr="000000"/>
              </a:solidFill>
            </a:rPr>
            <a:t>vilib</a:t>
          </a:r>
          <a:r>
            <a:rPr lang="de-DE" sz="1000" b="1" kern="1200" dirty="0" smtClean="0">
              <a:solidFill>
                <a:sysClr val="windowText" lastClr="000000"/>
              </a:solidFill>
            </a:rPr>
            <a:t>:</a:t>
          </a:r>
          <a:r>
            <a:rPr lang="de-DE" sz="1000" kern="1200" dirty="0" smtClean="0">
              <a:solidFill>
                <a:sysClr val="windowText" lastClr="000000"/>
              </a:solidFill>
            </a:rPr>
            <a:t/>
          </a:r>
          <a:br>
            <a:rPr lang="de-DE" sz="1000" kern="1200" dirty="0" smtClean="0">
              <a:solidFill>
                <a:sysClr val="windowText" lastClr="000000"/>
              </a:solidFill>
            </a:rPr>
          </a:br>
          <a:r>
            <a:rPr lang="de-DE" sz="1000" kern="1200" dirty="0" err="1" smtClean="0">
              <a:solidFill>
                <a:sysClr val="windowText" lastClr="000000"/>
              </a:solidFill>
            </a:rPr>
            <a:t>Shared</a:t>
          </a:r>
          <a:r>
            <a:rPr lang="de-DE" sz="1000" kern="1200" dirty="0" smtClean="0">
              <a:solidFill>
                <a:sysClr val="windowText" lastClr="000000"/>
              </a:solidFill>
            </a:rPr>
            <a:t> </a:t>
          </a:r>
          <a:r>
            <a:rPr lang="de-DE" sz="1000" kern="1200" dirty="0" err="1" smtClean="0">
              <a:solidFill>
                <a:sysClr val="windowText" lastClr="000000"/>
              </a:solidFill>
            </a:rPr>
            <a:t>library</a:t>
          </a:r>
          <a:endParaRPr lang="de-DE" sz="1000" kern="1200" dirty="0">
            <a:solidFill>
              <a:sysClr val="windowText" lastClr="000000"/>
            </a:solidFill>
          </a:endParaRPr>
        </a:p>
      </dsp:txBody>
      <dsp:txXfrm>
        <a:off x="3433289" y="2083350"/>
        <a:ext cx="1162173" cy="563553"/>
      </dsp:txXfrm>
    </dsp:sp>
    <dsp:sp modelId="{B62724A9-C854-45B7-A0DB-DDCCB3D8CD75}">
      <dsp:nvSpPr>
        <dsp:cNvPr id="0" name=""/>
        <dsp:cNvSpPr/>
      </dsp:nvSpPr>
      <dsp:spPr>
        <a:xfrm rot="18289469">
          <a:off x="2757007" y="3387803"/>
          <a:ext cx="838602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838602" y="9942"/>
              </a:lnTo>
            </a:path>
          </a:pathLst>
        </a:custGeom>
        <a:noFill/>
        <a:ln w="2857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3155343" y="3376781"/>
        <a:ext cx="41930" cy="41930"/>
      </dsp:txXfrm>
    </dsp:sp>
    <dsp:sp modelId="{DA874016-F828-45F5-BEAE-FE04D19EE787}">
      <dsp:nvSpPr>
        <dsp:cNvPr id="0" name=""/>
        <dsp:cNvSpPr/>
      </dsp:nvSpPr>
      <dsp:spPr>
        <a:xfrm>
          <a:off x="3415756" y="2754229"/>
          <a:ext cx="1197239" cy="59861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3">
                <a:satMod val="103000"/>
                <a:lumMod val="102000"/>
                <a:tint val="94000"/>
              </a:schemeClr>
            </a:gs>
            <a:gs pos="50000">
              <a:schemeClr val="accent3">
                <a:satMod val="110000"/>
                <a:lumMod val="100000"/>
                <a:shade val="100000"/>
              </a:schemeClr>
            </a:gs>
            <a:gs pos="100000">
              <a:schemeClr val="accent3"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hemeClr val="accent3"/>
        </a:lnRef>
        <a:fillRef idx="3">
          <a:schemeClr val="accent3"/>
        </a:fillRef>
        <a:effectRef idx="3">
          <a:schemeClr val="accent3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1" kern="1200" dirty="0" err="1" smtClean="0"/>
            <a:t>visrv</a:t>
          </a:r>
          <a:r>
            <a:rPr lang="de-DE" sz="1000" b="1" kern="1200" dirty="0" smtClean="0"/>
            <a:t>:</a:t>
          </a:r>
          <a:r>
            <a:rPr lang="de-DE" sz="1000" kern="1200" dirty="0" smtClean="0"/>
            <a:t/>
          </a:r>
          <a:br>
            <a:rPr lang="de-DE" sz="1000" kern="1200" dirty="0" smtClean="0"/>
          </a:br>
          <a:r>
            <a:rPr lang="de-DE" sz="1000" kern="1200" dirty="0" smtClean="0"/>
            <a:t>Server </a:t>
          </a:r>
          <a:r>
            <a:rPr lang="de-DE" sz="1000" kern="1200" dirty="0" err="1" smtClean="0"/>
            <a:t>for</a:t>
          </a:r>
          <a:r>
            <a:rPr lang="de-DE" sz="1000" kern="1200" dirty="0" smtClean="0"/>
            <a:t> </a:t>
          </a:r>
          <a:r>
            <a:rPr lang="de-DE" sz="1000" kern="1200" dirty="0" err="1" smtClean="0"/>
            <a:t>actual</a:t>
          </a:r>
          <a:r>
            <a:rPr lang="de-DE" sz="1000" kern="1200" dirty="0" smtClean="0"/>
            <a:t> </a:t>
          </a:r>
          <a:r>
            <a:rPr lang="de-DE" sz="1000" kern="1200" dirty="0" err="1" smtClean="0"/>
            <a:t>slow</a:t>
          </a:r>
          <a:r>
            <a:rPr lang="de-DE" sz="1000" kern="1200" dirty="0" smtClean="0"/>
            <a:t> </a:t>
          </a:r>
          <a:r>
            <a:rPr lang="de-DE" sz="1000" kern="1200" dirty="0" err="1" smtClean="0"/>
            <a:t>control</a:t>
          </a:r>
          <a:endParaRPr lang="de-DE" sz="1000" kern="1200" dirty="0"/>
        </a:p>
      </dsp:txBody>
      <dsp:txXfrm>
        <a:off x="3433289" y="2771762"/>
        <a:ext cx="1162173" cy="563553"/>
      </dsp:txXfrm>
    </dsp:sp>
    <dsp:sp modelId="{3787854E-BE45-4C28-A2A2-8B1AD1E436EA}">
      <dsp:nvSpPr>
        <dsp:cNvPr id="0" name=""/>
        <dsp:cNvSpPr/>
      </dsp:nvSpPr>
      <dsp:spPr>
        <a:xfrm>
          <a:off x="4612996" y="3043597"/>
          <a:ext cx="478895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478895" y="9942"/>
              </a:lnTo>
            </a:path>
          </a:pathLst>
        </a:custGeom>
        <a:noFill/>
        <a:ln w="2857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4840472" y="3041567"/>
        <a:ext cx="23944" cy="23944"/>
      </dsp:txXfrm>
    </dsp:sp>
    <dsp:sp modelId="{5879FAFB-5F74-4216-A2FC-A75478C41BE5}">
      <dsp:nvSpPr>
        <dsp:cNvPr id="0" name=""/>
        <dsp:cNvSpPr/>
      </dsp:nvSpPr>
      <dsp:spPr>
        <a:xfrm>
          <a:off x="5091892" y="2754229"/>
          <a:ext cx="295454" cy="59861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satMod val="103000"/>
                <a:lumMod val="102000"/>
                <a:tint val="94000"/>
              </a:schemeClr>
            </a:gs>
            <a:gs pos="50000">
              <a:schemeClr val="accent4">
                <a:satMod val="110000"/>
                <a:lumMod val="100000"/>
                <a:shade val="100000"/>
              </a:schemeClr>
            </a:gs>
            <a:gs pos="100000">
              <a:schemeClr val="accent4"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vert270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1" kern="1200" dirty="0" err="1" smtClean="0">
              <a:solidFill>
                <a:sysClr val="windowText" lastClr="000000"/>
              </a:solidFill>
            </a:rPr>
            <a:t>vilib</a:t>
          </a:r>
          <a:endParaRPr lang="de-DE" sz="1000" kern="1200" dirty="0">
            <a:solidFill>
              <a:sysClr val="windowText" lastClr="000000"/>
            </a:solidFill>
          </a:endParaRPr>
        </a:p>
      </dsp:txBody>
      <dsp:txXfrm>
        <a:off x="5100546" y="2762883"/>
        <a:ext cx="278146" cy="581311"/>
      </dsp:txXfrm>
    </dsp:sp>
    <dsp:sp modelId="{7A619CD1-99FA-4C50-8103-F0A380C4EE28}">
      <dsp:nvSpPr>
        <dsp:cNvPr id="0" name=""/>
        <dsp:cNvSpPr/>
      </dsp:nvSpPr>
      <dsp:spPr>
        <a:xfrm>
          <a:off x="2936860" y="3732010"/>
          <a:ext cx="478895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478895" y="9942"/>
              </a:lnTo>
            </a:path>
          </a:pathLst>
        </a:custGeom>
        <a:noFill/>
        <a:ln w="2857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3164336" y="3729980"/>
        <a:ext cx="23944" cy="23944"/>
      </dsp:txXfrm>
    </dsp:sp>
    <dsp:sp modelId="{E5B2DE51-F325-4DAE-A2DD-354F947CFE10}">
      <dsp:nvSpPr>
        <dsp:cNvPr id="0" name=""/>
        <dsp:cNvSpPr/>
      </dsp:nvSpPr>
      <dsp:spPr>
        <a:xfrm>
          <a:off x="3415756" y="3442642"/>
          <a:ext cx="1197239" cy="59861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satMod val="103000"/>
                <a:lumMod val="102000"/>
                <a:tint val="94000"/>
              </a:schemeClr>
            </a:gs>
            <a:gs pos="50000">
              <a:schemeClr val="accent6">
                <a:satMod val="110000"/>
                <a:lumMod val="100000"/>
                <a:shade val="100000"/>
              </a:schemeClr>
            </a:gs>
            <a:gs pos="100000">
              <a:schemeClr val="accent6"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1" kern="1200" dirty="0" smtClean="0">
              <a:solidFill>
                <a:sysClr val="windowText" lastClr="000000"/>
              </a:solidFill>
            </a:rPr>
            <a:t>xu1_cfg_sh:</a:t>
          </a:r>
          <a:r>
            <a:rPr lang="de-DE" sz="1000" kern="1200" dirty="0" smtClean="0">
              <a:solidFill>
                <a:sysClr val="windowText" lastClr="000000"/>
              </a:solidFill>
            </a:rPr>
            <a:t/>
          </a:r>
          <a:br>
            <a:rPr lang="de-DE" sz="1000" kern="1200" dirty="0" smtClean="0">
              <a:solidFill>
                <a:sysClr val="windowText" lastClr="000000"/>
              </a:solidFill>
            </a:rPr>
          </a:br>
          <a:r>
            <a:rPr lang="de-DE" sz="1000" kern="1200" dirty="0" smtClean="0">
              <a:solidFill>
                <a:sysClr val="windowText" lastClr="000000"/>
              </a:solidFill>
            </a:rPr>
            <a:t>XU1 </a:t>
          </a:r>
          <a:r>
            <a:rPr lang="de-DE" sz="1000" kern="1200" dirty="0" err="1" smtClean="0">
              <a:solidFill>
                <a:sysClr val="windowText" lastClr="000000"/>
              </a:solidFill>
            </a:rPr>
            <a:t>config</a:t>
          </a:r>
          <a:r>
            <a:rPr lang="de-DE" sz="1000" kern="1200" dirty="0" smtClean="0">
              <a:solidFill>
                <a:sysClr val="windowText" lastClr="000000"/>
              </a:solidFill>
            </a:rPr>
            <a:t> </a:t>
          </a:r>
          <a:r>
            <a:rPr lang="de-DE" sz="1000" kern="1200" dirty="0" err="1" smtClean="0">
              <a:solidFill>
                <a:sysClr val="windowText" lastClr="000000"/>
              </a:solidFill>
            </a:rPr>
            <a:t>scripts</a:t>
          </a:r>
          <a:endParaRPr lang="de-DE" sz="1000" kern="1200" dirty="0">
            <a:solidFill>
              <a:sysClr val="windowText" lastClr="000000"/>
            </a:solidFill>
          </a:endParaRPr>
        </a:p>
      </dsp:txBody>
      <dsp:txXfrm>
        <a:off x="3433289" y="3460175"/>
        <a:ext cx="1162173" cy="563553"/>
      </dsp:txXfrm>
    </dsp:sp>
    <dsp:sp modelId="{DFC3668B-03BB-425A-B237-C5BC1F55319D}">
      <dsp:nvSpPr>
        <dsp:cNvPr id="0" name=""/>
        <dsp:cNvSpPr/>
      </dsp:nvSpPr>
      <dsp:spPr>
        <a:xfrm rot="3310531">
          <a:off x="2757007" y="4076216"/>
          <a:ext cx="838602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838602" y="9942"/>
              </a:lnTo>
            </a:path>
          </a:pathLst>
        </a:custGeom>
        <a:noFill/>
        <a:ln w="2857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3155343" y="4065194"/>
        <a:ext cx="41930" cy="41930"/>
      </dsp:txXfrm>
    </dsp:sp>
    <dsp:sp modelId="{29B6B637-81BC-476F-A724-77A32D4E92A0}">
      <dsp:nvSpPr>
        <dsp:cNvPr id="0" name=""/>
        <dsp:cNvSpPr/>
      </dsp:nvSpPr>
      <dsp:spPr>
        <a:xfrm>
          <a:off x="3415756" y="4131055"/>
          <a:ext cx="1198796" cy="59861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6">
                <a:satMod val="103000"/>
                <a:lumMod val="102000"/>
                <a:tint val="94000"/>
              </a:schemeClr>
            </a:gs>
            <a:gs pos="50000">
              <a:schemeClr val="accent6">
                <a:satMod val="110000"/>
                <a:lumMod val="100000"/>
                <a:shade val="100000"/>
              </a:schemeClr>
            </a:gs>
            <a:gs pos="100000">
              <a:schemeClr val="accent6"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0" kern="1200" dirty="0" err="1" smtClean="0">
              <a:solidFill>
                <a:sysClr val="windowText" lastClr="000000"/>
              </a:solidFill>
            </a:rPr>
            <a:t>switcher_sequence</a:t>
          </a:r>
          <a:endParaRPr lang="de-DE" sz="1000" b="0" kern="1200" dirty="0">
            <a:solidFill>
              <a:sysClr val="windowText" lastClr="000000"/>
            </a:solidFill>
          </a:endParaRPr>
        </a:p>
      </dsp:txBody>
      <dsp:txXfrm>
        <a:off x="3433289" y="4148588"/>
        <a:ext cx="1163730" cy="563553"/>
      </dsp:txXfrm>
    </dsp:sp>
    <dsp:sp modelId="{72624831-0085-4C0F-9902-161E1F891B58}">
      <dsp:nvSpPr>
        <dsp:cNvPr id="0" name=""/>
        <dsp:cNvSpPr/>
      </dsp:nvSpPr>
      <dsp:spPr>
        <a:xfrm rot="4249260">
          <a:off x="2447441" y="4420422"/>
          <a:ext cx="1457734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1457734" y="9942"/>
              </a:lnTo>
            </a:path>
          </a:pathLst>
        </a:custGeom>
        <a:noFill/>
        <a:ln w="2857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DE" sz="500" kern="1200"/>
        </a:p>
      </dsp:txBody>
      <dsp:txXfrm>
        <a:off x="3139865" y="4393922"/>
        <a:ext cx="72886" cy="72886"/>
      </dsp:txXfrm>
    </dsp:sp>
    <dsp:sp modelId="{E4311872-4433-4B07-BDC2-59690B903B5B}">
      <dsp:nvSpPr>
        <dsp:cNvPr id="0" name=""/>
        <dsp:cNvSpPr/>
      </dsp:nvSpPr>
      <dsp:spPr>
        <a:xfrm>
          <a:off x="3415756" y="4819468"/>
          <a:ext cx="1197239" cy="598619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7CF8F2"/>
            </a:gs>
            <a:gs pos="50000">
              <a:srgbClr val="60FCF5"/>
            </a:gs>
            <a:gs pos="100000">
              <a:srgbClr val="4BE5DE"/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1" kern="1200" dirty="0" err="1" smtClean="0">
              <a:ln>
                <a:noFill/>
              </a:ln>
              <a:solidFill>
                <a:sysClr val="windowText" lastClr="000000"/>
              </a:solidFill>
            </a:rPr>
            <a:t>vasic_plugins</a:t>
          </a:r>
          <a:r>
            <a:rPr lang="de-DE" sz="1000" b="1" kern="1200" dirty="0" smtClean="0">
              <a:ln>
                <a:noFill/>
              </a:ln>
              <a:solidFill>
                <a:sysClr val="windowText" lastClr="000000"/>
              </a:solidFill>
            </a:rPr>
            <a:t>:</a:t>
          </a:r>
          <a:r>
            <a:rPr lang="de-DE" sz="1000" kern="1200" dirty="0" smtClean="0">
              <a:ln>
                <a:noFill/>
              </a:ln>
              <a:solidFill>
                <a:sysClr val="windowText" lastClr="000000"/>
              </a:solidFill>
            </a:rPr>
            <a:t/>
          </a:r>
          <a:br>
            <a:rPr lang="de-DE" sz="1000" kern="1200" dirty="0" smtClean="0">
              <a:ln>
                <a:noFill/>
              </a:ln>
              <a:solidFill>
                <a:sysClr val="windowText" lastClr="000000"/>
              </a:solidFill>
            </a:rPr>
          </a:br>
          <a:r>
            <a:rPr lang="de-DE" sz="1000" kern="1200" dirty="0" smtClean="0">
              <a:ln>
                <a:noFill/>
              </a:ln>
              <a:solidFill>
                <a:sysClr val="windowText" lastClr="000000"/>
              </a:solidFill>
            </a:rPr>
            <a:t>User </a:t>
          </a:r>
          <a:r>
            <a:rPr lang="de-DE" sz="1000" kern="1200" dirty="0" err="1" smtClean="0">
              <a:ln>
                <a:noFill/>
              </a:ln>
              <a:solidFill>
                <a:sysClr val="windowText" lastClr="000000"/>
              </a:solidFill>
            </a:rPr>
            <a:t>scripts</a:t>
          </a:r>
          <a:r>
            <a:rPr lang="de-DE" sz="1000" kern="1200" dirty="0" smtClean="0">
              <a:ln>
                <a:noFill/>
              </a:ln>
              <a:solidFill>
                <a:sysClr val="windowText" lastClr="000000"/>
              </a:solidFill>
            </a:rPr>
            <a:t> </a:t>
          </a:r>
          <a:r>
            <a:rPr lang="de-DE" sz="1000" kern="1200" dirty="0" err="1" smtClean="0">
              <a:ln>
                <a:noFill/>
              </a:ln>
              <a:solidFill>
                <a:sysClr val="windowText" lastClr="000000"/>
              </a:solidFill>
            </a:rPr>
            <a:t>started</a:t>
          </a:r>
          <a:r>
            <a:rPr lang="de-DE" sz="1000" kern="1200" dirty="0" smtClean="0">
              <a:ln>
                <a:noFill/>
              </a:ln>
              <a:solidFill>
                <a:sysClr val="windowText" lastClr="000000"/>
              </a:solidFill>
            </a:rPr>
            <a:t> </a:t>
          </a:r>
          <a:r>
            <a:rPr lang="de-DE" sz="1000" kern="1200" dirty="0" err="1" smtClean="0">
              <a:ln>
                <a:noFill/>
              </a:ln>
              <a:solidFill>
                <a:sysClr val="windowText" lastClr="000000"/>
              </a:solidFill>
            </a:rPr>
            <a:t>from</a:t>
          </a:r>
          <a:r>
            <a:rPr lang="de-DE" sz="1000" kern="1200" dirty="0" smtClean="0">
              <a:ln>
                <a:noFill/>
              </a:ln>
              <a:solidFill>
                <a:sysClr val="windowText" lastClr="000000"/>
              </a:solidFill>
            </a:rPr>
            <a:t> </a:t>
          </a:r>
          <a:r>
            <a:rPr lang="de-DE" sz="1000" kern="1200" dirty="0" err="1" smtClean="0">
              <a:ln>
                <a:noFill/>
              </a:ln>
              <a:solidFill>
                <a:sysClr val="windowText" lastClr="000000"/>
              </a:solidFill>
            </a:rPr>
            <a:t>the</a:t>
          </a:r>
          <a:r>
            <a:rPr lang="de-DE" sz="1000" kern="1200" dirty="0" smtClean="0">
              <a:ln>
                <a:noFill/>
              </a:ln>
              <a:solidFill>
                <a:sysClr val="windowText" lastClr="000000"/>
              </a:solidFill>
            </a:rPr>
            <a:t> GUI</a:t>
          </a:r>
          <a:endParaRPr lang="de-DE" sz="1000" kern="1200" dirty="0">
            <a:ln>
              <a:noFill/>
            </a:ln>
            <a:solidFill>
              <a:sysClr val="windowText" lastClr="000000"/>
            </a:solidFill>
          </a:endParaRPr>
        </a:p>
      </dsp:txBody>
      <dsp:txXfrm>
        <a:off x="3433289" y="4837001"/>
        <a:ext cx="1162173" cy="563553"/>
      </dsp:txXfrm>
    </dsp:sp>
    <dsp:sp modelId="{3FA86979-A3C5-4695-80F6-22819D1DEAE2}">
      <dsp:nvSpPr>
        <dsp:cNvPr id="0" name=""/>
        <dsp:cNvSpPr/>
      </dsp:nvSpPr>
      <dsp:spPr>
        <a:xfrm>
          <a:off x="63485" y="2753798"/>
          <a:ext cx="1197239" cy="598619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7CB7F8"/>
            </a:gs>
            <a:gs pos="50000">
              <a:srgbClr val="60AAFC"/>
            </a:gs>
            <a:gs pos="100000">
              <a:srgbClr val="4B94E5"/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1" kern="1200" dirty="0" smtClean="0">
              <a:ln>
                <a:noFill/>
              </a:ln>
              <a:solidFill>
                <a:sysClr val="windowText" lastClr="000000"/>
              </a:solidFill>
            </a:rPr>
            <a:t>vlogv:</a:t>
          </a:r>
          <a:br>
            <a:rPr lang="de-DE" sz="1000" b="1" kern="1200" dirty="0" smtClean="0">
              <a:ln>
                <a:noFill/>
              </a:ln>
              <a:solidFill>
                <a:sysClr val="windowText" lastClr="000000"/>
              </a:solidFill>
            </a:rPr>
          </a:br>
          <a:r>
            <a:rPr lang="de-DE" sz="1000" kern="1200" dirty="0" smtClean="0">
              <a:ln>
                <a:noFill/>
              </a:ln>
              <a:solidFill>
                <a:sysClr val="windowText" lastClr="000000"/>
              </a:solidFill>
            </a:rPr>
            <a:t>Log file analysis and presentation</a:t>
          </a:r>
          <a:endParaRPr lang="de-DE" sz="1000" kern="1200" dirty="0">
            <a:ln>
              <a:noFill/>
            </a:ln>
            <a:solidFill>
              <a:sysClr val="windowText" lastClr="000000"/>
            </a:solidFill>
          </a:endParaRPr>
        </a:p>
      </dsp:txBody>
      <dsp:txXfrm>
        <a:off x="81018" y="2771331"/>
        <a:ext cx="1162173" cy="563553"/>
      </dsp:txXfrm>
    </dsp:sp>
    <dsp:sp modelId="{15F258B3-B0E3-4F97-AAFE-3EC4716A5CBD}">
      <dsp:nvSpPr>
        <dsp:cNvPr id="0" name=""/>
        <dsp:cNvSpPr/>
      </dsp:nvSpPr>
      <dsp:spPr>
        <a:xfrm>
          <a:off x="1260725" y="3043166"/>
          <a:ext cx="478895" cy="19885"/>
        </a:xfrm>
        <a:custGeom>
          <a:avLst/>
          <a:gdLst/>
          <a:ahLst/>
          <a:cxnLst/>
          <a:rect l="0" t="0" r="0" b="0"/>
          <a:pathLst>
            <a:path>
              <a:moveTo>
                <a:pt x="0" y="9942"/>
              </a:moveTo>
              <a:lnTo>
                <a:pt x="478895" y="9942"/>
              </a:lnTo>
            </a:path>
          </a:pathLst>
        </a:custGeom>
        <a:noFill/>
        <a:ln w="28575" cap="flat" cmpd="sng" algn="ctr">
          <a:solidFill>
            <a:schemeClr val="dk1"/>
          </a:solidFill>
          <a:prstDash val="solid"/>
          <a:miter lim="800000"/>
        </a:ln>
        <a:effectLst/>
      </dsp:spPr>
      <dsp:style>
        <a:lnRef idx="3">
          <a:schemeClr val="dk1"/>
        </a:lnRef>
        <a:fillRef idx="0">
          <a:schemeClr val="dk1"/>
        </a:fillRef>
        <a:effectRef idx="2">
          <a:schemeClr val="dk1"/>
        </a:effectRef>
        <a:fontRef idx="minor">
          <a:schemeClr val="tx1"/>
        </a:fontRef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 dirty="0"/>
        </a:p>
      </dsp:txBody>
      <dsp:txXfrm>
        <a:off x="1488201" y="3041136"/>
        <a:ext cx="23944" cy="23944"/>
      </dsp:txXfrm>
    </dsp:sp>
    <dsp:sp modelId="{14CF5DA2-5C84-4827-B221-359F994E2FE5}">
      <dsp:nvSpPr>
        <dsp:cNvPr id="0" name=""/>
        <dsp:cNvSpPr/>
      </dsp:nvSpPr>
      <dsp:spPr>
        <a:xfrm>
          <a:off x="1739621" y="2753798"/>
          <a:ext cx="1197239" cy="598619"/>
        </a:xfrm>
        <a:prstGeom prst="roundRect">
          <a:avLst>
            <a:gd name="adj" fmla="val 10000"/>
          </a:avLst>
        </a:prstGeom>
        <a:gradFill rotWithShape="1">
          <a:gsLst>
            <a:gs pos="0">
              <a:schemeClr val="accent4">
                <a:satMod val="103000"/>
                <a:lumMod val="102000"/>
                <a:tint val="94000"/>
              </a:schemeClr>
            </a:gs>
            <a:gs pos="50000">
              <a:schemeClr val="accent4">
                <a:satMod val="110000"/>
                <a:lumMod val="100000"/>
                <a:shade val="100000"/>
              </a:schemeClr>
            </a:gs>
            <a:gs pos="100000">
              <a:schemeClr val="accent4"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hemeClr val="accent4"/>
        </a:lnRef>
        <a:fillRef idx="3">
          <a:schemeClr val="accent4"/>
        </a:fillRef>
        <a:effectRef idx="3">
          <a:schemeClr val="accent4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1" kern="1200" smtClean="0">
              <a:solidFill>
                <a:sysClr val="windowText" lastClr="000000"/>
              </a:solidFill>
            </a:rPr>
            <a:t>vilib:</a:t>
          </a:r>
          <a:r>
            <a:rPr lang="de-DE" sz="1000" kern="1200" smtClean="0">
              <a:solidFill>
                <a:sysClr val="windowText" lastClr="000000"/>
              </a:solidFill>
            </a:rPr>
            <a:t/>
          </a:r>
          <a:br>
            <a:rPr lang="de-DE" sz="1000" kern="1200" smtClean="0">
              <a:solidFill>
                <a:sysClr val="windowText" lastClr="000000"/>
              </a:solidFill>
            </a:rPr>
          </a:br>
          <a:r>
            <a:rPr lang="de-DE" sz="1000" kern="1200" smtClean="0">
              <a:solidFill>
                <a:sysClr val="windowText" lastClr="000000"/>
              </a:solidFill>
            </a:rPr>
            <a:t>Shared library</a:t>
          </a:r>
          <a:endParaRPr lang="de-DE" sz="1000" kern="1200" dirty="0">
            <a:ln>
              <a:noFill/>
            </a:ln>
            <a:solidFill>
              <a:sysClr val="windowText" lastClr="000000"/>
            </a:solidFill>
          </a:endParaRPr>
        </a:p>
      </dsp:txBody>
      <dsp:txXfrm>
        <a:off x="1757154" y="2771331"/>
        <a:ext cx="1162173" cy="563553"/>
      </dsp:txXfrm>
    </dsp:sp>
    <dsp:sp modelId="{B2950AC5-B526-494F-9B58-A8072A16E28A}">
      <dsp:nvSpPr>
        <dsp:cNvPr id="0" name=""/>
        <dsp:cNvSpPr/>
      </dsp:nvSpPr>
      <dsp:spPr>
        <a:xfrm>
          <a:off x="63485" y="2065386"/>
          <a:ext cx="1197239" cy="598619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7CF8A8"/>
            </a:gs>
            <a:gs pos="50000">
              <a:srgbClr val="60FC98"/>
            </a:gs>
            <a:gs pos="100000">
              <a:srgbClr val="4BE582"/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hemeClr val="accent6"/>
        </a:lnRef>
        <a:fillRef idx="3">
          <a:schemeClr val="accent6"/>
        </a:fillRef>
        <a:effectRef idx="3">
          <a:schemeClr val="accent6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000" b="1" kern="1200" dirty="0" smtClean="0">
              <a:ln>
                <a:noFill/>
              </a:ln>
              <a:solidFill>
                <a:sysClr val="windowText" lastClr="000000"/>
              </a:solidFill>
            </a:rPr>
            <a:t>vidoc:</a:t>
          </a:r>
          <a:r>
            <a:rPr lang="de-DE" sz="1000" kern="1200" dirty="0" smtClean="0">
              <a:ln>
                <a:noFill/>
              </a:ln>
              <a:solidFill>
                <a:sysClr val="windowText" lastClr="000000"/>
              </a:solidFill>
            </a:rPr>
            <a:t/>
          </a:r>
          <a:br>
            <a:rPr lang="de-DE" sz="1000" kern="1200" dirty="0" smtClean="0">
              <a:ln>
                <a:noFill/>
              </a:ln>
              <a:solidFill>
                <a:sysClr val="windowText" lastClr="000000"/>
              </a:solidFill>
            </a:rPr>
          </a:br>
          <a:r>
            <a:rPr lang="de-DE" sz="1000" kern="1200" dirty="0" smtClean="0">
              <a:ln>
                <a:noFill/>
              </a:ln>
              <a:solidFill>
                <a:sysClr val="windowText" lastClr="000000"/>
              </a:solidFill>
            </a:rPr>
            <a:t>Documentation framework</a:t>
          </a:r>
          <a:endParaRPr lang="de-DE" sz="1000" kern="1200" dirty="0">
            <a:ln>
              <a:noFill/>
            </a:ln>
            <a:solidFill>
              <a:sysClr val="windowText" lastClr="000000"/>
            </a:solidFill>
          </a:endParaRPr>
        </a:p>
      </dsp:txBody>
      <dsp:txXfrm>
        <a:off x="81018" y="2082919"/>
        <a:ext cx="1162173" cy="56355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489D54-1306-4050-86BB-4324CA230711}" type="datetimeFigureOut">
              <a:rPr lang="de-DE" smtClean="0"/>
              <a:t>14.12.2022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5C326A-1C84-462F-B8C1-402A55153C31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025138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6388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6898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6BB02-6612-4463-8030-4413BF816764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98457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8716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4"/>
            <a:ext cx="10296524" cy="4759146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6BB02-6612-4463-8030-4413BF816764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74278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0074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48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1648853"/>
            <a:ext cx="48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6BB02-6612-4463-8030-4413BF816764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6083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Felder mit Überschrift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7017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6BB02-6612-4463-8030-4413BF816764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1"/>
          </p:nvPr>
        </p:nvSpPr>
        <p:spPr>
          <a:xfrm>
            <a:off x="947739" y="1648853"/>
            <a:ext cx="4860000" cy="448233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12"/>
          </p:nvPr>
        </p:nvSpPr>
        <p:spPr>
          <a:xfrm>
            <a:off x="6384263" y="1648853"/>
            <a:ext cx="4860000" cy="448233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978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5283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6BB02-6612-4463-8030-4413BF816764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8710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5198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14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6BB02-6612-4463-8030-4413BF816764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5" name="Datumsplatzhalter 7"/>
          <p:cNvSpPr>
            <a:spLocks noGrp="1"/>
          </p:cNvSpPr>
          <p:nvPr>
            <p:ph type="dt" sz="half" idx="14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999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3553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182B74-8C6D-4413-AFAC-24A2B937F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6BB02-6612-4463-8030-4413BF816764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3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10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70290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763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8CA7A7F-18CF-42AB-93B5-CE02169C7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15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6BB02-6612-4463-8030-4413BF816764}" type="slidenum">
              <a:rPr lang="de-DE" smtClean="0"/>
              <a:t>‹#›</a:t>
            </a:fld>
            <a:endParaRPr lang="de-DE"/>
          </a:p>
        </p:txBody>
      </p:sp>
      <p:sp>
        <p:nvSpPr>
          <p:cNvPr id="14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6" name="Datumsplatzhalter 7"/>
          <p:cNvSpPr>
            <a:spLocks noGrp="1"/>
          </p:cNvSpPr>
          <p:nvPr>
            <p:ph type="dt" sz="half" idx="15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7987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1286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6BB02-6612-4463-8030-4413BF816764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3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10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3541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eitstrahl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8630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A6C115C0-79EA-0549-85C6-2A33D1CD630D}"/>
              </a:ext>
            </a:extLst>
          </p:cNvPr>
          <p:cNvCxnSpPr>
            <a:cxnSpLocks/>
          </p:cNvCxnSpPr>
          <p:nvPr/>
        </p:nvCxnSpPr>
        <p:spPr>
          <a:xfrm>
            <a:off x="972000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F124B1C9-EBC8-174A-B6ED-4A26C4C9822F}"/>
              </a:ext>
            </a:extLst>
          </p:cNvPr>
          <p:cNvCxnSpPr>
            <a:cxnSpLocks/>
          </p:cNvCxnSpPr>
          <p:nvPr/>
        </p:nvCxnSpPr>
        <p:spPr>
          <a:xfrm>
            <a:off x="3628541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8FD12061-FE46-DB45-A5E2-49B615F2FA2D}"/>
              </a:ext>
            </a:extLst>
          </p:cNvPr>
          <p:cNvCxnSpPr>
            <a:cxnSpLocks/>
          </p:cNvCxnSpPr>
          <p:nvPr/>
        </p:nvCxnSpPr>
        <p:spPr>
          <a:xfrm>
            <a:off x="6276117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B7F0CD26-D7E1-FF4D-9D19-415BA3A918C1}"/>
              </a:ext>
            </a:extLst>
          </p:cNvPr>
          <p:cNvCxnSpPr>
            <a:cxnSpLocks/>
          </p:cNvCxnSpPr>
          <p:nvPr/>
        </p:nvCxnSpPr>
        <p:spPr>
          <a:xfrm>
            <a:off x="8932658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15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6BB02-6612-4463-8030-4413BF816764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14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5300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13045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6973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DE2241-1AF0-49A8-922F-CB987C6D8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1648853"/>
            <a:ext cx="66421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6BB02-6612-4463-8030-4413BF816764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739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6857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1648853"/>
            <a:ext cx="3037093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1648853"/>
            <a:ext cx="66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6BB02-6612-4463-8030-4413BF816764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2700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9605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8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F05C30-C7CF-4BED-ACA7-6138A5FB0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6BB02-6612-4463-8030-4413BF816764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3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8811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8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6BB02-6612-4463-8030-4413BF816764}" type="slidenum">
              <a:rPr lang="de-DE" smtClean="0"/>
              <a:t>‹#›</a:t>
            </a:fld>
            <a:endParaRPr lang="de-DE"/>
          </a:p>
        </p:txBody>
      </p:sp>
      <p:sp>
        <p:nvSpPr>
          <p:cNvPr id="9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0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7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8208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6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6BB02-6612-4463-8030-4413BF816764}" type="slidenum">
              <a:rPr lang="de-DE" smtClean="0"/>
              <a:t>‹#›</a:t>
            </a:fld>
            <a:endParaRPr lang="de-DE"/>
          </a:p>
        </p:txBody>
      </p:sp>
      <p:sp>
        <p:nvSpPr>
          <p:cNvPr id="7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9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35180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8403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8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0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6BB02-6612-4463-8030-4413BF816764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02103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</a:t>
            </a:r>
            <a:endParaRPr lang="de-DE" dirty="0"/>
          </a:p>
        </p:txBody>
      </p:sp>
      <p:sp>
        <p:nvSpPr>
          <p:cNvPr id="5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</a:t>
            </a:r>
            <a:endParaRPr lang="de-DE" dirty="0"/>
          </a:p>
        </p:txBody>
      </p:sp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8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9811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6616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48193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7866434" y="499354"/>
            <a:ext cx="3800272" cy="1180290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84558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7892374" y="538264"/>
            <a:ext cx="4105073" cy="132296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11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196214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46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39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9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491292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6BB02-6612-4463-8030-4413BF816764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9691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 über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1216024" y="1835008"/>
            <a:ext cx="9747249" cy="4467368"/>
          </a:xfrm>
          <a:solidFill>
            <a:schemeClr val="bg1"/>
          </a:solidFill>
        </p:spPr>
        <p:txBody>
          <a:bodyPr lIns="108000" tIns="108000"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512049" y="4067176"/>
            <a:ext cx="3451225" cy="2235200"/>
          </a:xfrm>
          <a:solidFill>
            <a:srgbClr val="29485D"/>
          </a:solidFill>
        </p:spPr>
        <p:txBody>
          <a:bodyPr vert="horz" wrap="square" lIns="198000" tIns="158400" rIns="108000" bIns="108000" rtlCol="0" anchor="t" anchorCtr="0">
            <a:noAutofit/>
          </a:bodyPr>
          <a:lstStyle>
            <a:lvl1pPr>
              <a:defRPr lang="de-DE" sz="2300" cap="all" spc="14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</a:pPr>
            <a:r>
              <a:rPr lang="en-US" dirty="0" smtClean="0"/>
              <a:t>Click icon to add picture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6BB02-6612-4463-8030-4413BF816764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892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168"/>
          <a:stretch/>
        </p:blipFill>
        <p:spPr>
          <a:xfrm>
            <a:off x="10421565" y="64850"/>
            <a:ext cx="1684800" cy="84447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108"/>
          <a:stretch/>
        </p:blipFill>
        <p:spPr>
          <a:xfrm>
            <a:off x="10421565" y="64850"/>
            <a:ext cx="1684800" cy="831621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992498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think-cell Folie" r:id="rId32" imgW="384" imgH="385" progId="TCLayout.ActiveDocument.1">
                  <p:embed/>
                </p:oleObj>
              </mc:Choice>
              <mc:Fallback>
                <p:oleObj name="think-cell Folie" r:id="rId32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1648853"/>
            <a:ext cx="10296524" cy="47678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11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</a:t>
            </a:r>
            <a:endParaRPr lang="de-DE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6BB02-6612-4463-8030-4413BF816764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  <p:sp>
        <p:nvSpPr>
          <p:cNvPr id="15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8924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86" r:id="rId9"/>
    <p:sldLayoutId id="2147483669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675" r:id="rId16"/>
    <p:sldLayoutId id="2147483676" r:id="rId17"/>
    <p:sldLayoutId id="2147483677" r:id="rId18"/>
    <p:sldLayoutId id="2147483678" r:id="rId19"/>
    <p:sldLayoutId id="2147483679" r:id="rId20"/>
    <p:sldLayoutId id="2147483680" r:id="rId21"/>
    <p:sldLayoutId id="2147483681" r:id="rId22"/>
    <p:sldLayoutId id="2147483682" r:id="rId23"/>
    <p:sldLayoutId id="2147483683" r:id="rId24"/>
    <p:sldLayoutId id="2147483684" r:id="rId25"/>
    <p:sldLayoutId id="2147483685" r:id="rId26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hyperlink" Target="https://xkcd.com/2653" TargetMode="Externa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hensel@hll.mpg.de" TargetMode="External"/><Relationship Id="rId2" Type="http://schemas.openxmlformats.org/officeDocument/2006/relationships/hyperlink" Target="mailto:hll-info@hll.mpg.de" TargetMode="Externa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2.png"/><Relationship Id="rId5" Type="http://schemas.openxmlformats.org/officeDocument/2006/relationships/hyperlink" Target="https://xkcd.com/2662" TargetMode="External"/><Relationship Id="rId4" Type="http://schemas.openxmlformats.org/officeDocument/2006/relationships/hyperlink" Target="http://www.hll.mpg.de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5.png"/><Relationship Id="rId4" Type="http://schemas.openxmlformats.org/officeDocument/2006/relationships/hyperlink" Target="https://xkcd.com/2677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s://xkcd.com/505" TargetMode="Externa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xkcd.com/2595" TargetMode="Externa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hyperlink" Target="https://xkcd.com/2595" TargetMode="Externa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hyperlink" Target="https://xkcd.com/730/" TargetMode="Externa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hyperlink" Target="https://xkcd.com/2497" TargetMode="Externa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System &amp; Housekeeping Softwar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Project Review 2022 – Martin Hensel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14.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3161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smtClean="0"/>
              <a:t>More drawbacks of the current communication system between server and client(s)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Clients </a:t>
            </a:r>
            <a:r>
              <a:rPr lang="de-DE" dirty="0" smtClean="0"/>
              <a:t>don‘t </a:t>
            </a:r>
            <a:r>
              <a:rPr lang="de-DE" dirty="0" smtClean="0"/>
              <a:t>know what changed on the server and the server does not know what the client already knows: Every time a client requests an update from the server, the full content of the server data store has to be sent out.</a:t>
            </a:r>
          </a:p>
          <a:p>
            <a:pPr marL="465138" lvl="2" indent="-285750"/>
            <a:r>
              <a:rPr lang="de-DE" sz="1400" dirty="0" smtClean="0"/>
              <a:t>Could be mitigated by remembering on the server, when the last full update was sent to each client and what changed since then.</a:t>
            </a:r>
          </a:p>
          <a:p>
            <a:pPr marL="465138" lvl="2" indent="-285750"/>
            <a:r>
              <a:rPr lang="de-DE" sz="1400" dirty="0" smtClean="0"/>
              <a:t>What happens when server or client loose their memories?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Communication is happening in the server process (python multithreading bottleneck).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smtClean="0"/>
              <a:t>This could be solved with a new process, that holds the latest data from the server and acts as the communication hub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EPICS: </a:t>
            </a:r>
            <a:r>
              <a:rPr lang="de-DE" b="0" dirty="0" smtClean="0">
                <a:solidFill>
                  <a:schemeClr val="tx1"/>
                </a:solidFill>
              </a:rPr>
              <a:t>Ideally a single instance on a network machine, database based, spams over the whole network, convenience functions like archiv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QTT: </a:t>
            </a:r>
            <a:r>
              <a:rPr lang="de-DE" b="0" dirty="0" smtClean="0">
                <a:solidFill>
                  <a:schemeClr val="tx1"/>
                </a:solidFill>
              </a:rPr>
              <a:t>Ultra light weight, needs a broker, granular permissions system for data access data and r/w permiss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ØMQ: </a:t>
            </a:r>
            <a:r>
              <a:rPr lang="de-DE" b="0" dirty="0" smtClean="0">
                <a:solidFill>
                  <a:schemeClr val="tx1"/>
                </a:solidFill>
              </a:rPr>
              <a:t>Ultra light weight, no broker needed, strict data flow definitions, might need several connections/ports for full functionality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uture Plans – Server/client interface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DC6BB02-6612-4463-8030-4413BF816764}" type="slidenum">
              <a:rPr lang="de-DE" smtClean="0"/>
              <a:t>10</a:t>
            </a:fld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4.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3819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smtClean="0"/>
              <a:t>Our current user interface is designed for experts and super-users.</a:t>
            </a:r>
          </a:p>
          <a:p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smtClean="0"/>
              <a:t>Our camera end-users expect single button functionality.</a:t>
            </a:r>
            <a:endParaRPr lang="de-DE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uture Plans – End-user interface design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DC6BB02-6612-4463-8030-4413BF816764}" type="slidenum">
              <a:rPr lang="de-DE" smtClean="0"/>
              <a:t>11</a:t>
            </a:fld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8" name="TextBox 7"/>
          <p:cNvSpPr txBox="1"/>
          <p:nvPr/>
        </p:nvSpPr>
        <p:spPr>
          <a:xfrm>
            <a:off x="947739" y="2679033"/>
            <a:ext cx="9671378" cy="37289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R="0" indent="0" defTabSz="914400" fontAlgn="auto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</a:defRPr>
            </a:lvl1pPr>
            <a:lvl2pPr marL="0" indent="0" defTabSz="914400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/>
            </a:lvl2pPr>
            <a:lvl3pPr marL="179388" indent="-179388" defTabSz="9144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/>
            </a:lvl3pPr>
            <a:lvl4pPr marL="179388" indent="-179388" defTabSz="914400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</a:defRPr>
            </a:lvl4pPr>
            <a:lvl5pPr marL="357188" indent="-179388" defTabSz="914400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/>
            </a:lvl5pPr>
            <a:lvl6pPr marL="645750" indent="-285750" defTabSz="914400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/>
            </a:lvl6pPr>
            <a:lvl7pPr marL="0" indent="215900" defTabSz="914400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</a:defRPr>
            </a:lvl7pPr>
            <a:lvl8pPr marL="0" indent="0" defTabSz="914400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8pPr>
            <a:lvl9pPr marL="0" indent="0" defTabSz="914400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9pPr>
          </a:lstStyle>
          <a:p>
            <a:pPr algn="ctr"/>
            <a:r>
              <a:rPr lang="de-DE" dirty="0" smtClean="0"/>
              <a:t>Discuss!</a:t>
            </a:r>
          </a:p>
          <a:p>
            <a:pPr algn="ctr"/>
            <a:endParaRPr lang="de-DE" dirty="0" smtClean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Who defines what the end-user needs?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Who knows what the end-user actually wants?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Why are these two separate points?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May we interest you in our UI/UX portfolio? Do we have any?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utomation mechanisms and logics? Emergencies? Recovery?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How many deep neural networks and omni-potent AIs do we need?</a:t>
            </a:r>
            <a:br>
              <a:rPr lang="de-DE" dirty="0" smtClean="0"/>
            </a:br>
            <a:r>
              <a:rPr lang="de-DE" dirty="0" smtClean="0"/>
              <a:t>What </a:t>
            </a:r>
            <a:r>
              <a:rPr lang="de-DE" dirty="0" smtClean="0"/>
              <a:t>can </a:t>
            </a:r>
            <a:r>
              <a:rPr lang="de-DE" dirty="0" smtClean="0"/>
              <a:t>we offer our machine overloards in return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9" name="Picture 8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4611" y="2898767"/>
            <a:ext cx="2771546" cy="2415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941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8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9F0412B-F929-DD4C-8D99-4244E9D5E6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DE" dirty="0" smtClean="0"/>
              <a:t>Max Planck Society – Semiconductor Laboratory</a:t>
            </a:r>
            <a:endParaRPr lang="de-DE" dirty="0"/>
          </a:p>
          <a:p>
            <a:pPr lvl="1">
              <a:lnSpc>
                <a:spcPct val="100000"/>
              </a:lnSpc>
              <a:spcBef>
                <a:spcPts val="600"/>
              </a:spcBef>
            </a:pPr>
            <a:endParaRPr lang="de-DE" dirty="0" smtClean="0"/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de-DE" dirty="0" smtClean="0"/>
              <a:t>Martin Hensel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Otto-Hahn-Ring 6 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de-DE" dirty="0" smtClean="0"/>
              <a:t>81739 </a:t>
            </a:r>
            <a:r>
              <a:rPr lang="de-DE" dirty="0"/>
              <a:t>München</a:t>
            </a:r>
          </a:p>
          <a:p>
            <a:pPr lvl="1"/>
            <a:endParaRPr lang="de-DE" dirty="0"/>
          </a:p>
          <a:p>
            <a:pPr lvl="1"/>
            <a:r>
              <a:rPr lang="de-DE" dirty="0"/>
              <a:t>Tel.: +49 (0)89 </a:t>
            </a:r>
            <a:r>
              <a:rPr lang="de-DE" dirty="0" smtClean="0"/>
              <a:t>839400-0 or -93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Fax: +49 (0)89 </a:t>
            </a:r>
            <a:r>
              <a:rPr lang="de-DE" dirty="0" smtClean="0"/>
              <a:t>839400-11</a:t>
            </a:r>
            <a:endParaRPr lang="de-DE" dirty="0"/>
          </a:p>
          <a:p>
            <a:pPr lvl="1"/>
            <a:endParaRPr lang="de-DE" dirty="0"/>
          </a:p>
          <a:p>
            <a:pPr lvl="1"/>
            <a:r>
              <a:rPr lang="de-DE" dirty="0"/>
              <a:t>E-Mail: </a:t>
            </a:r>
            <a:r>
              <a:rPr lang="de-DE" dirty="0" smtClean="0">
                <a:hlinkClick r:id="rId2"/>
              </a:rPr>
              <a:t>hll-info@hll.mpg.de</a:t>
            </a:r>
            <a:r>
              <a:rPr lang="de-DE" dirty="0" smtClean="0"/>
              <a:t> or </a:t>
            </a:r>
            <a:r>
              <a:rPr lang="de-DE" dirty="0" smtClean="0">
                <a:hlinkClick r:id="rId3"/>
              </a:rPr>
              <a:t>hensel@hll.mpg.de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Internet: </a:t>
            </a:r>
            <a:r>
              <a:rPr lang="de-DE" dirty="0" smtClean="0">
                <a:hlinkClick r:id="rId4"/>
              </a:rPr>
              <a:t>www.hll.mpg.de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0012E11-915D-EA4E-A529-30A8B2FA59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 for</a:t>
            </a:r>
            <a:br>
              <a:rPr lang="en-US" dirty="0" smtClean="0"/>
            </a:br>
            <a:r>
              <a:rPr lang="en-US" dirty="0" smtClean="0"/>
              <a:t>your attention</a:t>
            </a:r>
            <a:br>
              <a:rPr lang="en-US" dirty="0" smtClean="0"/>
            </a:br>
            <a:r>
              <a:rPr lang="en-US" sz="1800" b="0" cap="none" spc="50" dirty="0" smtClean="0"/>
              <a:t>For questions please contact:</a:t>
            </a:r>
            <a:endParaRPr lang="en-US" sz="1800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System &amp; Housekeeping Software – Martin Hensel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8AB53DF-44C7-4E0A-A5DE-06E7FD589F68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14.12.2022</a:t>
            </a:r>
            <a:endParaRPr lang="de-DE" dirty="0"/>
          </a:p>
        </p:txBody>
      </p:sp>
      <p:pic>
        <p:nvPicPr>
          <p:cNvPr id="4" name="Picture 3">
            <a:hlinkClick r:id="rId5"/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84" t="21180" r="7217" b="2681"/>
          <a:stretch/>
        </p:blipFill>
        <p:spPr>
          <a:xfrm>
            <a:off x="6788989" y="2889851"/>
            <a:ext cx="2863969" cy="253385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46184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2300" cap="all" dirty="0" smtClean="0"/>
              <a:t>Outline</a:t>
            </a:r>
          </a:p>
          <a:p>
            <a:r>
              <a:rPr lang="de-DE" dirty="0" smtClean="0"/>
              <a:t>Developments of the last months:</a:t>
            </a:r>
          </a:p>
          <a:p>
            <a:pPr marL="285750" indent="-285750">
              <a:buBlip>
                <a:blip r:embed="rId2"/>
              </a:buBlip>
            </a:pPr>
            <a:r>
              <a:rPr lang="de-DE" dirty="0" smtClean="0"/>
              <a:t>Implementation of polynomial calculus in all</a:t>
            </a:r>
            <a:br>
              <a:rPr lang="de-DE" dirty="0" smtClean="0"/>
            </a:br>
            <a:r>
              <a:rPr lang="de-DE" dirty="0" smtClean="0"/>
              <a:t>core parts of the instrument server</a:t>
            </a:r>
          </a:p>
          <a:p>
            <a:pPr marL="285750" indent="-285750">
              <a:buBlip>
                <a:blip r:embed="rId2"/>
              </a:buBlip>
            </a:pPr>
            <a:r>
              <a:rPr lang="de-DE" dirty="0"/>
              <a:t>Transition from linear to reactive data </a:t>
            </a:r>
            <a:r>
              <a:rPr lang="de-DE" dirty="0" smtClean="0"/>
              <a:t>model</a:t>
            </a:r>
          </a:p>
          <a:p>
            <a:endParaRPr lang="de-DE" dirty="0"/>
          </a:p>
          <a:p>
            <a:r>
              <a:rPr lang="de-DE" dirty="0" smtClean="0"/>
              <a:t>Future plans:</a:t>
            </a:r>
          </a:p>
          <a:p>
            <a:pPr marL="285750" indent="-285750">
              <a:buBlip>
                <a:blip r:embed="rId3"/>
              </a:buBlip>
            </a:pPr>
            <a:r>
              <a:rPr lang="de-DE" dirty="0" smtClean="0"/>
              <a:t>Application Programming Interface (API)</a:t>
            </a:r>
          </a:p>
          <a:p>
            <a:pPr marL="285750" indent="-285750">
              <a:buBlip>
                <a:blip r:embed="rId3"/>
              </a:buBlip>
            </a:pPr>
            <a:r>
              <a:rPr lang="de-DE" dirty="0" smtClean="0"/>
              <a:t>Rework of Server/Client communication</a:t>
            </a:r>
            <a:br>
              <a:rPr lang="de-DE" dirty="0" smtClean="0"/>
            </a:br>
            <a:r>
              <a:rPr lang="de-DE" dirty="0" smtClean="0"/>
              <a:t>interface (EPICS/MQTT/0MQ?)</a:t>
            </a:r>
          </a:p>
          <a:p>
            <a:pPr marL="285750" indent="-285750">
              <a:buBlip>
                <a:blip r:embed="rId3"/>
              </a:buBlip>
            </a:pPr>
            <a:r>
              <a:rPr lang="de-DE" dirty="0" smtClean="0"/>
              <a:t>Enduser Interface Desig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 smtClean="0"/>
              <a:t>System &amp; Housekeeping Software – Martin Hensel</a:t>
            </a:r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DC6BB02-6612-4463-8030-4413BF816764}" type="slidenum">
              <a:rPr lang="de-DE" smtClean="0"/>
              <a:t>2</a:t>
            </a:fld>
            <a:endParaRPr lang="de-DE"/>
          </a:p>
        </p:txBody>
      </p:sp>
      <p:pic>
        <p:nvPicPr>
          <p:cNvPr id="7" name="Picture Placeholder 6">
            <a:hlinkClick r:id="rId4"/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941" r="-19"/>
          <a:stretch/>
        </p:blipFill>
        <p:spPr>
          <a:xfrm>
            <a:off x="6333116" y="3856008"/>
            <a:ext cx="5048308" cy="244788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071924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1934964"/>
          </a:xfrm>
        </p:spPr>
        <p:txBody>
          <a:bodyPr/>
          <a:lstStyle/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Connect to a multitude of instruments, from I²C devices to bench power supplies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Housekeeping cycles, automated and manual instrument control, defined system states with defined transitions between, fault detection and handling.</a:t>
            </a:r>
            <a:endParaRPr lang="de-DE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ystem overview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DC6BB02-6612-4463-8030-4413BF816764}" type="slidenum">
              <a:rPr lang="de-DE" smtClean="0"/>
              <a:t>3</a:t>
            </a:fld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8" name="Content Placeholder 7"/>
          <p:cNvSpPr>
            <a:spLocks noGrp="1"/>
          </p:cNvSpPr>
          <p:nvPr>
            <p:ph sz="half" idx="11"/>
          </p:nvPr>
        </p:nvSpPr>
        <p:spPr/>
        <p:txBody>
          <a:bodyPr/>
          <a:lstStyle/>
          <a:p>
            <a:r>
              <a:rPr lang="de-DE" dirty="0" smtClean="0"/>
              <a:t>Virtual Instrument Server (visrv)</a:t>
            </a:r>
            <a:endParaRPr lang="de-DE" dirty="0"/>
          </a:p>
        </p:txBody>
      </p:sp>
      <p:sp>
        <p:nvSpPr>
          <p:cNvPr id="10" name="Content Placeholder 1"/>
          <p:cNvSpPr txBox="1">
            <a:spLocks/>
          </p:cNvSpPr>
          <p:nvPr/>
        </p:nvSpPr>
        <p:spPr>
          <a:xfrm>
            <a:off x="947739" y="4480287"/>
            <a:ext cx="4860000" cy="19349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User interface to control all aspects of the instrument server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cts as a container to control several servers and additional components (e.g. ASIC programming, system automation tasks)</a:t>
            </a:r>
            <a:endParaRPr lang="de-DE" dirty="0"/>
          </a:p>
        </p:txBody>
      </p:sp>
      <p:sp>
        <p:nvSpPr>
          <p:cNvPr id="11" name="Content Placeholder 7"/>
          <p:cNvSpPr txBox="1">
            <a:spLocks/>
          </p:cNvSpPr>
          <p:nvPr/>
        </p:nvSpPr>
        <p:spPr>
          <a:xfrm>
            <a:off x="947739" y="4032052"/>
            <a:ext cx="4860000" cy="44823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Virtual Instrument Manager (vimrg)</a:t>
            </a:r>
            <a:endParaRPr lang="de-DE" dirty="0"/>
          </a:p>
        </p:txBody>
      </p:sp>
      <p:grpSp>
        <p:nvGrpSpPr>
          <p:cNvPr id="19" name="Group 18"/>
          <p:cNvGrpSpPr/>
          <p:nvPr/>
        </p:nvGrpSpPr>
        <p:grpSpPr>
          <a:xfrm>
            <a:off x="6477642" y="922715"/>
            <a:ext cx="5450833" cy="5492536"/>
            <a:chOff x="6290659" y="1005840"/>
            <a:chExt cx="5450833" cy="5492536"/>
          </a:xfrm>
        </p:grpSpPr>
        <p:sp>
          <p:nvSpPr>
            <p:cNvPr id="16" name="Abgerundetes Rechteck 11"/>
            <p:cNvSpPr/>
            <p:nvPr/>
          </p:nvSpPr>
          <p:spPr>
            <a:xfrm>
              <a:off x="9665208" y="3749421"/>
              <a:ext cx="2057759" cy="2066544"/>
            </a:xfrm>
            <a:prstGeom prst="roundRect">
              <a:avLst>
                <a:gd name="adj" fmla="val 4278"/>
              </a:avLst>
            </a:prstGeom>
            <a:ln>
              <a:tailEnd type="triangle" w="lg" len="med"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2" name="Abgerundetes Rechteck 9"/>
            <p:cNvSpPr/>
            <p:nvPr/>
          </p:nvSpPr>
          <p:spPr>
            <a:xfrm>
              <a:off x="6290659" y="4425840"/>
              <a:ext cx="5432309" cy="2072536"/>
            </a:xfrm>
            <a:prstGeom prst="roundRect">
              <a:avLst>
                <a:gd name="adj" fmla="val 2456"/>
              </a:avLst>
            </a:prstGeom>
            <a:noFill/>
            <a:ln>
              <a:tailEnd type="triangle" w="lg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3" name="Abgerundetes Rechteck 7"/>
            <p:cNvSpPr/>
            <p:nvPr/>
          </p:nvSpPr>
          <p:spPr>
            <a:xfrm>
              <a:off x="6290659" y="1005840"/>
              <a:ext cx="5432308" cy="3420000"/>
            </a:xfrm>
            <a:prstGeom prst="roundRect">
              <a:avLst>
                <a:gd name="adj" fmla="val 2456"/>
              </a:avLst>
            </a:prstGeom>
            <a:noFill/>
            <a:ln>
              <a:tailEnd type="triangle" w="lg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dirty="0" smtClean="0">
                <a:solidFill>
                  <a:schemeClr val="bg1"/>
                </a:solidFill>
              </a:endParaRPr>
            </a:p>
          </p:txBody>
        </p:sp>
        <p:graphicFrame>
          <p:nvGraphicFramePr>
            <p:cNvPr id="14" name="Diagramm 5"/>
            <p:cNvGraphicFramePr/>
            <p:nvPr>
              <p:extLst>
                <p:ext uri="{D42A27DB-BD31-4B8C-83A1-F6EECF244321}">
                  <p14:modId xmlns:p14="http://schemas.microsoft.com/office/powerpoint/2010/main" val="1805769675"/>
                </p:ext>
              </p:extLst>
            </p:nvPr>
          </p:nvGraphicFramePr>
          <p:xfrm>
            <a:off x="6290659" y="1034521"/>
            <a:ext cx="5450833" cy="5418667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sp>
          <p:nvSpPr>
            <p:cNvPr id="15" name="Textfeld 10"/>
            <p:cNvSpPr txBox="1"/>
            <p:nvPr/>
          </p:nvSpPr>
          <p:spPr>
            <a:xfrm>
              <a:off x="6328789" y="5837214"/>
              <a:ext cx="1264769" cy="633507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lnSpc>
                  <a:spcPts val="2300"/>
                </a:lnSpc>
                <a:spcBef>
                  <a:spcPts val="1150"/>
                </a:spcBef>
              </a:pPr>
              <a:r>
                <a:rPr lang="en-US" sz="1400" dirty="0" smtClean="0"/>
                <a:t>Support by anv</a:t>
              </a:r>
            </a:p>
            <a:p>
              <a:pPr>
                <a:spcBef>
                  <a:spcPts val="1150"/>
                </a:spcBef>
              </a:pPr>
              <a:r>
                <a:rPr lang="en-US" sz="1200" dirty="0" smtClean="0"/>
                <a:t>Qt support by mhe</a:t>
              </a:r>
            </a:p>
          </p:txBody>
        </p:sp>
        <p:sp>
          <p:nvSpPr>
            <p:cNvPr id="17" name="Textfeld 8"/>
            <p:cNvSpPr txBox="1"/>
            <p:nvPr/>
          </p:nvSpPr>
          <p:spPr>
            <a:xfrm>
              <a:off x="10433901" y="1005840"/>
              <a:ext cx="1263166" cy="262059"/>
            </a:xfrm>
            <a:prstGeom prst="rect">
              <a:avLst/>
            </a:prstGeom>
            <a:noFill/>
          </p:spPr>
          <p:txBody>
            <a:bodyPr wrap="none" lIns="0" tIns="0" rIns="0" bIns="0" rtlCol="0" anchor="t" anchorCtr="0">
              <a:spAutoFit/>
            </a:bodyPr>
            <a:lstStyle/>
            <a:p>
              <a:pPr algn="r">
                <a:lnSpc>
                  <a:spcPts val="2300"/>
                </a:lnSpc>
                <a:spcBef>
                  <a:spcPts val="1150"/>
                </a:spcBef>
              </a:pPr>
              <a:r>
                <a:rPr lang="en-US" sz="1400" dirty="0" smtClean="0"/>
                <a:t>Support by mhe</a:t>
              </a:r>
            </a:p>
          </p:txBody>
        </p:sp>
        <p:sp>
          <p:nvSpPr>
            <p:cNvPr id="18" name="Textfeld 12"/>
            <p:cNvSpPr txBox="1"/>
            <p:nvPr/>
          </p:nvSpPr>
          <p:spPr>
            <a:xfrm rot="16200000">
              <a:off x="10917696" y="4998461"/>
              <a:ext cx="1360692" cy="215444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spAutoFit/>
            </a:bodyPr>
            <a:lstStyle/>
            <a:p>
              <a:pPr>
                <a:spcBef>
                  <a:spcPts val="1150"/>
                </a:spcBef>
              </a:pPr>
              <a:r>
                <a:rPr lang="en-US" sz="1400" dirty="0" smtClean="0">
                  <a:solidFill>
                    <a:schemeClr val="bg2">
                      <a:lumMod val="75000"/>
                    </a:schemeClr>
                  </a:solidFill>
                </a:rPr>
                <a:t>Mounted on XU1</a:t>
              </a:r>
            </a:p>
          </p:txBody>
        </p:sp>
        <p:sp>
          <p:nvSpPr>
            <p:cNvPr id="20" name="Abgerundetes Rechteck 9"/>
            <p:cNvSpPr/>
            <p:nvPr/>
          </p:nvSpPr>
          <p:spPr>
            <a:xfrm>
              <a:off x="9665208" y="4425839"/>
              <a:ext cx="1711159" cy="699835"/>
            </a:xfrm>
            <a:prstGeom prst="roundRect">
              <a:avLst>
                <a:gd name="adj" fmla="val 9261"/>
              </a:avLst>
            </a:prstGeom>
            <a:noFill/>
            <a:ln>
              <a:tailEnd type="triangle" w="lg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1" name="Textfeld 8"/>
            <p:cNvSpPr txBox="1"/>
            <p:nvPr/>
          </p:nvSpPr>
          <p:spPr>
            <a:xfrm>
              <a:off x="10929200" y="4425838"/>
              <a:ext cx="369332" cy="699836"/>
            </a:xfrm>
            <a:prstGeom prst="rect">
              <a:avLst/>
            </a:prstGeom>
            <a:noFill/>
          </p:spPr>
          <p:txBody>
            <a:bodyPr vert="vert270" wrap="square" lIns="0" tIns="0" rIns="0" bIns="0" rtlCol="0" anchor="t" anchorCtr="0">
              <a:spAutoFit/>
            </a:bodyPr>
            <a:lstStyle/>
            <a:p>
              <a:pPr algn="ctr">
                <a:spcBef>
                  <a:spcPts val="1150"/>
                </a:spcBef>
              </a:pPr>
              <a:r>
                <a:rPr lang="en-US" sz="1200" dirty="0" smtClean="0"/>
                <a:t>Support by mpo</a:t>
              </a:r>
            </a:p>
          </p:txBody>
        </p:sp>
        <p:sp>
          <p:nvSpPr>
            <p:cNvPr id="22" name="Abgerundetes Rechteck 9"/>
            <p:cNvSpPr/>
            <p:nvPr/>
          </p:nvSpPr>
          <p:spPr>
            <a:xfrm>
              <a:off x="9665208" y="5123296"/>
              <a:ext cx="1711159" cy="699835"/>
            </a:xfrm>
            <a:prstGeom prst="roundRect">
              <a:avLst>
                <a:gd name="adj" fmla="val 9261"/>
              </a:avLst>
            </a:prstGeom>
            <a:noFill/>
            <a:ln>
              <a:tailEnd type="triangle" w="lg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3" name="Textfeld 8"/>
            <p:cNvSpPr txBox="1"/>
            <p:nvPr/>
          </p:nvSpPr>
          <p:spPr>
            <a:xfrm>
              <a:off x="10929200" y="5123295"/>
              <a:ext cx="369332" cy="699836"/>
            </a:xfrm>
            <a:prstGeom prst="rect">
              <a:avLst/>
            </a:prstGeom>
            <a:noFill/>
          </p:spPr>
          <p:txBody>
            <a:bodyPr vert="vert270" wrap="square" lIns="0" tIns="0" rIns="0" bIns="0" rtlCol="0" anchor="t" anchorCtr="0">
              <a:spAutoFit/>
            </a:bodyPr>
            <a:lstStyle/>
            <a:p>
              <a:pPr algn="ctr">
                <a:spcBef>
                  <a:spcPts val="1150"/>
                </a:spcBef>
              </a:pPr>
              <a:r>
                <a:rPr lang="en-US" sz="1200" dirty="0" smtClean="0"/>
                <a:t>Support by ch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590527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The Virtual Instrument Suite (Manager, Client, Server, ASICs, shared libraries, no duplicate files) contains (as of 13/12/2022, latest development branch):</a:t>
            </a:r>
          </a:p>
          <a:p>
            <a:pPr marL="630238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12 git repositories (one of them is duplicated four times for a total of 16)</a:t>
            </a:r>
          </a:p>
          <a:p>
            <a:pPr marL="630238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107,674 lines of pure python code in 514 modules</a:t>
            </a:r>
          </a:p>
          <a:p>
            <a:pPr marL="630238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  24,065 lines of comments (mostly method and class documentation)</a:t>
            </a:r>
          </a:p>
          <a:p>
            <a:pPr marL="630238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355,335 lines of json in 212 files, over 99.7% of which is auto-generated</a:t>
            </a:r>
            <a:br>
              <a:rPr lang="de-DE" dirty="0" smtClean="0"/>
            </a:br>
            <a:r>
              <a:rPr lang="de-DE" dirty="0" smtClean="0"/>
              <a:t>by scripts (settings, definitions, persistent states, ...)</a:t>
            </a:r>
            <a:endParaRPr lang="de-DE" sz="1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efault tasks (always included):</a:t>
            </a:r>
          </a:p>
          <a:p>
            <a:pPr marL="630238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Bug fixes</a:t>
            </a:r>
          </a:p>
          <a:p>
            <a:pPr marL="630238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Dependency and package management</a:t>
            </a:r>
          </a:p>
          <a:p>
            <a:pPr marL="630238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Code refactoring</a:t>
            </a:r>
          </a:p>
          <a:p>
            <a:pPr marL="630238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Feature request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velopments of the last monhs</a:t>
            </a:r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DC6BB02-6612-4463-8030-4413BF816764}" type="slidenum">
              <a:rPr lang="de-DE" smtClean="0"/>
              <a:t>4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14.12.2022</a:t>
            </a:r>
            <a:endParaRPr lang="de-DE"/>
          </a:p>
        </p:txBody>
      </p:sp>
      <p:pic>
        <p:nvPicPr>
          <p:cNvPr id="2" name="Picture 1">
            <a:hlinkClick r:id="rId2"/>
          </p:cNvPr>
          <p:cNvPicPr>
            <a:picLocks noChangeAspect="1"/>
          </p:cNvPicPr>
          <p:nvPr/>
        </p:nvPicPr>
        <p:blipFill rotWithShape="1">
          <a:blip r:embed="rId3"/>
          <a:srcRect l="50477"/>
          <a:stretch/>
        </p:blipFill>
        <p:spPr>
          <a:xfrm>
            <a:off x="8543785" y="3725524"/>
            <a:ext cx="2680513" cy="1218867"/>
          </a:xfrm>
          <a:prstGeom prst="rect">
            <a:avLst/>
          </a:prstGeom>
        </p:spPr>
      </p:pic>
      <p:pic>
        <p:nvPicPr>
          <p:cNvPr id="8" name="Picture 7">
            <a:hlinkClick r:id="rId2"/>
          </p:cNvPr>
          <p:cNvPicPr>
            <a:picLocks noChangeAspect="1"/>
          </p:cNvPicPr>
          <p:nvPr/>
        </p:nvPicPr>
        <p:blipFill rotWithShape="1">
          <a:blip r:embed="rId3"/>
          <a:srcRect r="50397"/>
          <a:stretch/>
        </p:blipFill>
        <p:spPr>
          <a:xfrm>
            <a:off x="8543785" y="2378926"/>
            <a:ext cx="2700478" cy="1225960"/>
          </a:xfrm>
          <a:prstGeom prst="rect">
            <a:avLst/>
          </a:prstGeom>
        </p:spPr>
      </p:pic>
      <p:pic>
        <p:nvPicPr>
          <p:cNvPr id="3" name="Picture 2">
            <a:hlinkClick r:id="rId2"/>
          </p:cNvPr>
          <p:cNvPicPr>
            <a:picLocks noChangeAspect="1"/>
          </p:cNvPicPr>
          <p:nvPr/>
        </p:nvPicPr>
        <p:blipFill rotWithShape="1">
          <a:blip r:embed="rId4"/>
          <a:srcRect l="1458" t="3185" r="18990"/>
          <a:stretch/>
        </p:blipFill>
        <p:spPr>
          <a:xfrm>
            <a:off x="8543785" y="5191030"/>
            <a:ext cx="2719568" cy="1180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948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smtClean="0"/>
              <a:t>All instrument related calculations on the server are represented as Polynomials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Scaling (raw ↔ human readable values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llowed value ranges (blocking/warning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utomated changes (new value calculation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Margin checks (margin calculation)</a:t>
            </a:r>
          </a:p>
          <a:p>
            <a:endParaRPr lang="de-DE" dirty="0" smtClean="0"/>
          </a:p>
          <a:p>
            <a:r>
              <a:rPr lang="de-DE" dirty="0" smtClean="0"/>
              <a:t>All devices and sequences have been transitioned to the new system.</a:t>
            </a:r>
          </a:p>
          <a:p>
            <a:r>
              <a:rPr lang="de-DE" dirty="0" smtClean="0"/>
              <a:t>Conditions follow soon™.</a:t>
            </a:r>
          </a:p>
          <a:p>
            <a:r>
              <a:rPr lang="de-DE" dirty="0" smtClean="0"/>
              <a:t>Full implementation in the user interface to edit these polynomials.</a:t>
            </a:r>
            <a:endParaRPr lang="de-DE" dirty="0"/>
          </a:p>
        </p:txBody>
      </p:sp>
      <p:pic>
        <p:nvPicPr>
          <p:cNvPr id="8" name="Content Placeholder 7">
            <a:hlinkClick r:id="rId2"/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6187" y="1649413"/>
            <a:ext cx="2836814" cy="4759325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olynomial calculus in the server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DC6BB02-6612-4463-8030-4413BF816764}" type="slidenum">
              <a:rPr lang="de-DE" smtClean="0"/>
              <a:t>5</a:t>
            </a:fld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4.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09367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Polynomial calculus in the server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DC6BB02-6612-4463-8030-4413BF816764}" type="slidenum">
              <a:rPr lang="de-DE" smtClean="0"/>
              <a:t>6</a:t>
            </a:fld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smtClean="0"/>
              <a:t>4 mathematical term types: y(x) =</a:t>
            </a:r>
          </a:p>
          <a:p>
            <a:pPr marL="285750" lvl="1" indent="-285750">
              <a:buFont typeface="Arial" panose="020B0604020202020204" pitchFamily="34" charset="0"/>
              <a:buChar char="+"/>
            </a:pPr>
            <a:r>
              <a:rPr lang="de-DE" dirty="0" smtClean="0"/>
              <a:t>Constant: a</a:t>
            </a:r>
          </a:p>
          <a:p>
            <a:pPr marL="285750" lvl="1" indent="-285750">
              <a:buFont typeface="Arial" panose="020B0604020202020204" pitchFamily="34" charset="0"/>
              <a:buChar char="+"/>
            </a:pPr>
            <a:r>
              <a:rPr lang="de-DE" dirty="0"/>
              <a:t>Direct term: </a:t>
            </a:r>
            <a:r>
              <a:rPr lang="de-DE" dirty="0" smtClean="0"/>
              <a:t>a</a:t>
            </a:r>
            <a:r>
              <a:rPr lang="de-DE" dirty="0"/>
              <a:t> ∙ x</a:t>
            </a:r>
            <a:r>
              <a:rPr lang="de-DE" baseline="30000" dirty="0" smtClean="0"/>
              <a:t>b</a:t>
            </a:r>
          </a:p>
          <a:p>
            <a:pPr marL="285750" lvl="1" indent="-285750">
              <a:buFont typeface="Arial" panose="020B0604020202020204" pitchFamily="34" charset="0"/>
              <a:buChar char="+"/>
            </a:pPr>
            <a:r>
              <a:rPr lang="de-DE" dirty="0" smtClean="0"/>
              <a:t>Linked </a:t>
            </a:r>
            <a:r>
              <a:rPr lang="de-DE" dirty="0"/>
              <a:t>term: </a:t>
            </a:r>
            <a:r>
              <a:rPr lang="de-DE" dirty="0" smtClean="0"/>
              <a:t>a</a:t>
            </a:r>
            <a:r>
              <a:rPr lang="de-DE" dirty="0"/>
              <a:t> </a:t>
            </a:r>
            <a:r>
              <a:rPr lang="de-DE" dirty="0" smtClean="0"/>
              <a:t>∙</a:t>
            </a:r>
            <a:r>
              <a:rPr lang="de-DE" dirty="0"/>
              <a:t> </a:t>
            </a:r>
            <a:r>
              <a:rPr lang="de-DE" dirty="0" smtClean="0"/>
              <a:t>w</a:t>
            </a:r>
            <a:r>
              <a:rPr lang="de-DE" baseline="30000" dirty="0" smtClean="0"/>
              <a:t>b</a:t>
            </a:r>
            <a:endParaRPr lang="de-DE" dirty="0" smtClean="0"/>
          </a:p>
          <a:p>
            <a:pPr marL="285750" lvl="1" indent="-285750">
              <a:buFont typeface="Arial" panose="020B0604020202020204" pitchFamily="34" charset="0"/>
              <a:buChar char="+"/>
            </a:pPr>
            <a:r>
              <a:rPr lang="de-DE" dirty="0" smtClean="0"/>
              <a:t>Mixed </a:t>
            </a:r>
            <a:r>
              <a:rPr lang="de-DE" dirty="0"/>
              <a:t>term: </a:t>
            </a:r>
            <a:r>
              <a:rPr lang="de-DE" dirty="0" smtClean="0"/>
              <a:t>a</a:t>
            </a:r>
            <a:r>
              <a:rPr lang="de-DE" dirty="0"/>
              <a:t> </a:t>
            </a:r>
            <a:r>
              <a:rPr lang="de-DE" dirty="0" smtClean="0"/>
              <a:t>∙</a:t>
            </a:r>
            <a:r>
              <a:rPr lang="de-DE" dirty="0"/>
              <a:t> </a:t>
            </a:r>
            <a:r>
              <a:rPr lang="de-DE" dirty="0" smtClean="0"/>
              <a:t>w</a:t>
            </a:r>
            <a:r>
              <a:rPr lang="de-DE" baseline="30000" dirty="0" smtClean="0"/>
              <a:t>b</a:t>
            </a:r>
            <a:r>
              <a:rPr lang="de-DE" dirty="0"/>
              <a:t> </a:t>
            </a:r>
            <a:r>
              <a:rPr lang="de-DE" dirty="0" smtClean="0"/>
              <a:t>∙</a:t>
            </a:r>
            <a:r>
              <a:rPr lang="de-DE" dirty="0"/>
              <a:t> </a:t>
            </a:r>
            <a:r>
              <a:rPr lang="de-DE" dirty="0" smtClean="0"/>
              <a:t>x</a:t>
            </a:r>
            <a:r>
              <a:rPr lang="de-DE" baseline="30000" dirty="0" smtClean="0"/>
              <a:t>c</a:t>
            </a:r>
          </a:p>
          <a:p>
            <a:r>
              <a:rPr lang="de-DE" dirty="0" smtClean="0"/>
              <a:t>2 programmatical term types: y() =</a:t>
            </a:r>
          </a:p>
          <a:p>
            <a:pPr marL="285750" lvl="1" indent="-285750">
              <a:buFont typeface="Arial" panose="020B0604020202020204" pitchFamily="34" charset="0"/>
              <a:buChar char="+"/>
            </a:pPr>
            <a:r>
              <a:rPr lang="de-DE" dirty="0" smtClean="0"/>
              <a:t>Constant string: „abcdef“</a:t>
            </a:r>
          </a:p>
          <a:p>
            <a:pPr marL="285750" lvl="1" indent="-285750">
              <a:buFont typeface="Arial" panose="020B0604020202020204" pitchFamily="34" charset="0"/>
              <a:buChar char="+"/>
            </a:pPr>
            <a:r>
              <a:rPr lang="de-DE" dirty="0" smtClean="0"/>
              <a:t>Linked string: „PPM_2018-002_c2021-06-01“</a:t>
            </a:r>
          </a:p>
          <a:p>
            <a:endParaRPr lang="de-DE" dirty="0"/>
          </a:p>
          <a:p>
            <a:r>
              <a:rPr lang="de-DE" dirty="0" smtClean="0"/>
              <a:t>Mixing between the two types is for now not possible (adding numbers and strings together)</a:t>
            </a:r>
            <a:endParaRPr lang="de-DE" dirty="0"/>
          </a:p>
        </p:txBody>
      </p:sp>
      <p:sp>
        <p:nvSpPr>
          <p:cNvPr id="11" name="Content Placeholder 1"/>
          <p:cNvSpPr txBox="1">
            <a:spLocks/>
          </p:cNvSpPr>
          <p:nvPr/>
        </p:nvSpPr>
        <p:spPr>
          <a:xfrm>
            <a:off x="-4888707" y="1648853"/>
            <a:ext cx="4860000" cy="47591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All instrument related calculations on the server are represented as Polynomials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Scaling (raw ↔ human readable values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llowed value ranges (blocking/warning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utomated changes (new value calculation)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Margin checks (margin calculation)</a:t>
            </a:r>
          </a:p>
          <a:p>
            <a:endParaRPr lang="de-DE" dirty="0" smtClean="0"/>
          </a:p>
          <a:p>
            <a:r>
              <a:rPr lang="de-DE" dirty="0" smtClean="0"/>
              <a:t>All devices and sequences have been transitioned to the new system.</a:t>
            </a:r>
          </a:p>
          <a:p>
            <a:r>
              <a:rPr lang="de-DE" dirty="0" smtClean="0"/>
              <a:t>Conditions follow soon™.</a:t>
            </a:r>
          </a:p>
          <a:p>
            <a:r>
              <a:rPr lang="de-DE" dirty="0" smtClean="0"/>
              <a:t>Full implementation in the user interface to edit these polynomials.</a:t>
            </a:r>
            <a:endParaRPr lang="de-DE" dirty="0"/>
          </a:p>
        </p:txBody>
      </p:sp>
      <p:pic>
        <p:nvPicPr>
          <p:cNvPr id="12" name="Content Placeholder 7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9791" y="1649413"/>
            <a:ext cx="2836814" cy="4759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001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44583 -1.48148E-6 L -0.00014 -1.48148E-6 " pathEditMode="fixed" rAng="0" ptsTypes="AA">
                                      <p:cBhvr>
                                        <p:cTn id="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305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35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47866 0 L 0.0327 0 " pathEditMode="fixed" rAng="0" ptsTypes="AA">
                                      <p:cBhvr>
                                        <p:cTn id="8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305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10" presetClass="exit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35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44596 0 L 2.91667E-6 0 " pathEditMode="relative" rAng="0" ptsTypes="AA">
                                      <p:cBhvr>
                                        <p:cTn id="13" dur="2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305" y="0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3" grpId="1"/>
      <p:bldP spid="11" grpId="0"/>
      <p:bldP spid="11" grpId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smtClean="0"/>
              <a:t>Old linear approach to data changes:</a:t>
            </a:r>
          </a:p>
          <a:p>
            <a:pPr marL="342900" lvl="1" indent="-342900">
              <a:buFont typeface="+mj-lt"/>
              <a:buAutoNum type="arabicPeriod"/>
            </a:pPr>
            <a:r>
              <a:rPr lang="de-DE" dirty="0" smtClean="0"/>
              <a:t>Server reads (raw) changes from the instruments (e.g. I2C, LAN, ...).</a:t>
            </a:r>
          </a:p>
          <a:p>
            <a:pPr marL="342900" lvl="1" indent="-342900">
              <a:buFont typeface="+mj-lt"/>
              <a:buAutoNum type="arabicPeriod"/>
            </a:pPr>
            <a:r>
              <a:rPr lang="de-DE" dirty="0" smtClean="0"/>
              <a:t>Channel data is updated and human readable values are calculated.</a:t>
            </a:r>
          </a:p>
          <a:p>
            <a:pPr marL="342900" lvl="1" indent="-342900">
              <a:buFont typeface="+mj-lt"/>
              <a:buAutoNum type="arabicPeriod"/>
            </a:pPr>
            <a:r>
              <a:rPr lang="de-DE" dirty="0" smtClean="0"/>
              <a:t>On every housekeeping cycle the sequences and conditions first recalculate the current and target conditions to account for changes and then decide what to do.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smtClean="0"/>
              <a:t>New reactionary approach:</a:t>
            </a:r>
          </a:p>
          <a:p>
            <a:pPr marL="342900" lvl="1" indent="-342900">
              <a:buFont typeface="+mj-lt"/>
              <a:buAutoNum type="arabicPeriod"/>
            </a:pPr>
            <a:r>
              <a:rPr lang="de-DE" dirty="0" smtClean="0"/>
              <a:t>Server </a:t>
            </a:r>
            <a:r>
              <a:rPr lang="de-DE" dirty="0"/>
              <a:t>reads (raw) changes from the instruments (e.g. I2C, LAN, </a:t>
            </a:r>
            <a:r>
              <a:rPr lang="de-DE" dirty="0" smtClean="0"/>
              <a:t>...).</a:t>
            </a:r>
          </a:p>
          <a:p>
            <a:pPr marL="342900" lvl="1" indent="-342900">
              <a:buFont typeface="+mj-lt"/>
              <a:buAutoNum type="arabicPeriod"/>
            </a:pPr>
            <a:r>
              <a:rPr lang="de-DE" dirty="0" smtClean="0"/>
              <a:t>Channel data is updated</a:t>
            </a:r>
            <a:r>
              <a:rPr lang="de-DE" dirty="0"/>
              <a:t> </a:t>
            </a:r>
            <a:r>
              <a:rPr lang="de-DE" dirty="0" smtClean="0"/>
              <a:t>and </a:t>
            </a:r>
            <a:r>
              <a:rPr lang="de-DE" dirty="0"/>
              <a:t>human readable values are calculated</a:t>
            </a:r>
            <a:r>
              <a:rPr lang="de-DE" dirty="0" smtClean="0"/>
              <a:t>.</a:t>
            </a:r>
          </a:p>
          <a:p>
            <a:pPr marL="342900" lvl="1" indent="-342900">
              <a:buFont typeface="+mj-lt"/>
              <a:buAutoNum type="arabicPeriod"/>
            </a:pPr>
            <a:r>
              <a:rPr lang="de-DE" dirty="0" smtClean="0"/>
              <a:t>If an actual change occurred (new != old) a signal is emitted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ll classes interested in that change are subscribed to the signal, are informed immediately about the change and can react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No need to recalculate current and target conditions explicitly on every housekeeping cycle of sequences and conditions.</a:t>
            </a:r>
            <a:endParaRPr lang="de-DE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ransition from linear to reactionary data model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DC6BB02-6612-4463-8030-4413BF816764}" type="slidenum">
              <a:rPr lang="de-DE" smtClean="0"/>
              <a:t>7</a:t>
            </a:fld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4.12.2022</a:t>
            </a:r>
            <a:endParaRPr lang="de-DE"/>
          </a:p>
        </p:txBody>
      </p:sp>
      <p:grpSp>
        <p:nvGrpSpPr>
          <p:cNvPr id="12" name="Group 11"/>
          <p:cNvGrpSpPr/>
          <p:nvPr/>
        </p:nvGrpSpPr>
        <p:grpSpPr>
          <a:xfrm>
            <a:off x="1777358" y="4658265"/>
            <a:ext cx="3197969" cy="1607928"/>
            <a:chOff x="1958514" y="4735512"/>
            <a:chExt cx="2838450" cy="1427163"/>
          </a:xfrm>
        </p:grpSpPr>
        <p:pic>
          <p:nvPicPr>
            <p:cNvPr id="8" name="Picture 7">
              <a:hlinkClick r:id="rId2"/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29" t="42500" r="43925" b="38055"/>
            <a:stretch/>
          </p:blipFill>
          <p:spPr>
            <a:xfrm>
              <a:off x="1958514" y="4829175"/>
              <a:ext cx="2838450" cy="1333500"/>
            </a:xfrm>
            <a:prstGeom prst="rect">
              <a:avLst/>
            </a:prstGeom>
          </p:spPr>
        </p:pic>
        <p:sp>
          <p:nvSpPr>
            <p:cNvPr id="9" name="Rectangle 8"/>
            <p:cNvSpPr/>
            <p:nvPr/>
          </p:nvSpPr>
          <p:spPr>
            <a:xfrm>
              <a:off x="2117725" y="4781550"/>
              <a:ext cx="361950" cy="155575"/>
            </a:xfrm>
            <a:prstGeom prst="rect">
              <a:avLst/>
            </a:prstGeom>
            <a:solidFill>
              <a:schemeClr val="bg1"/>
            </a:solidFill>
            <a:ln w="19050" cmpd="sng">
              <a:solidFill>
                <a:schemeClr val="bg1"/>
              </a:solidFill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4368800" y="5759450"/>
              <a:ext cx="428164" cy="403225"/>
            </a:xfrm>
            <a:prstGeom prst="rect">
              <a:avLst/>
            </a:prstGeom>
            <a:solidFill>
              <a:schemeClr val="bg1"/>
            </a:solidFill>
            <a:ln w="19050" cmpd="sng">
              <a:solidFill>
                <a:schemeClr val="bg1"/>
              </a:solidFill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994150" y="4735512"/>
              <a:ext cx="802814" cy="403225"/>
            </a:xfrm>
            <a:prstGeom prst="rect">
              <a:avLst/>
            </a:prstGeom>
            <a:solidFill>
              <a:schemeClr val="bg1"/>
            </a:solidFill>
            <a:ln w="19050" cmpd="sng">
              <a:solidFill>
                <a:schemeClr val="bg1"/>
              </a:solidFill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de-DE" sz="1300" b="1" dirty="0" smtClean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27921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smtClean="0"/>
              <a:t>An increasing number of „clients“ has to communicate with the server and/or the GUI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GUI: Regular updates about the instrument state, the sequences, fault conditions, ..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Calibration tools: Set and read back voltages and currents, control external calibration devices, ..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Optimization tools (e.g. DCD ADC scan by exp): Change the housekeeping cycle to a minimal cycle for maximum server speed, set external DCD current source, ..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Future developments ...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smtClean="0"/>
              <a:t>The current communication to the server is based on TCP/IP request/response system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Connection is established once and can then be reused for subsequent requests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ll communication is initiated from the client side. The server has no way to notify clients about anything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Data is a JSON formatted string, can contain an arbitrary amount of commands and data. Has to be formed from python objects in a single large chunk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Data is deeply nested to gain access to the nested data/class structure of the server.</a:t>
            </a:r>
            <a:br>
              <a:rPr lang="de-DE" dirty="0" smtClean="0"/>
            </a:br>
            <a:r>
              <a:rPr lang="de-DE" dirty="0" smtClean="0"/>
              <a:t>Can be unintuitive.</a:t>
            </a:r>
            <a:endParaRPr lang="de-DE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uture Plans – API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DC6BB02-6612-4463-8030-4413BF816764}" type="slidenum">
              <a:rPr lang="de-DE" smtClean="0"/>
              <a:t>8</a:t>
            </a:fld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4.12.2022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2688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smtClean="0"/>
              <a:t>Another important and new component joins the fray: ASIC configuration server (by anv)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Has its own needs, but they could probably be pressed into the current format.</a:t>
            </a:r>
          </a:p>
          <a:p>
            <a:pPr lvl="1"/>
            <a:endParaRPr lang="de-DE" dirty="0"/>
          </a:p>
          <a:p>
            <a:r>
              <a:rPr lang="de-DE" dirty="0" smtClean="0"/>
              <a:t>No high-level user-space API available for the current system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Every user has know the intricacies of the server data model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Every user has to build their own logic to form the pre-JSON python data packets for the server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de-DE" dirty="0" smtClean="0"/>
              <a:t>We want to develop an API with high-level functions/classes for our users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Remove connection handling from user space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Intuitive functions to change server values, read back data, trigger complex changes (e.g. ASIC programming)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Unified user experience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In-depth documentation so that users can actually understand and use the API.</a:t>
            </a:r>
            <a:endParaRPr lang="de-DE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uture Plans – API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System &amp; Housekeeping Software – Martin Hensel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DC6BB02-6612-4463-8030-4413BF816764}" type="slidenum">
              <a:rPr lang="de-DE" smtClean="0"/>
              <a:t>9</a:t>
            </a:fld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14.12.2022</a:t>
            </a:r>
            <a:endParaRPr lang="de-DE"/>
          </a:p>
        </p:txBody>
      </p:sp>
      <p:sp>
        <p:nvSpPr>
          <p:cNvPr id="8" name="Right Brace 7"/>
          <p:cNvSpPr/>
          <p:nvPr/>
        </p:nvSpPr>
        <p:spPr>
          <a:xfrm>
            <a:off x="5795148" y="1371600"/>
            <a:ext cx="174332" cy="4822166"/>
          </a:xfrm>
          <a:prstGeom prst="rightBrace">
            <a:avLst>
              <a:gd name="adj1" fmla="val 42958"/>
              <a:gd name="adj2" fmla="val 11717"/>
            </a:avLst>
          </a:prstGeom>
          <a:ln>
            <a:headEnd type="none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Picture 8">
            <a:hlinkClick r:id="rId2"/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8" t="66031" r="2256" b="3011"/>
          <a:stretch/>
        </p:blipFill>
        <p:spPr>
          <a:xfrm>
            <a:off x="8751228" y="5801183"/>
            <a:ext cx="2751827" cy="683838"/>
          </a:xfrm>
          <a:prstGeom prst="rect">
            <a:avLst/>
          </a:prstGeom>
        </p:spPr>
      </p:pic>
      <p:pic>
        <p:nvPicPr>
          <p:cNvPr id="10" name="Picture 9">
            <a:hlinkClick r:id="rId2"/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47" t="1879" r="3413" b="60823"/>
          <a:stretch/>
        </p:blipFill>
        <p:spPr>
          <a:xfrm>
            <a:off x="7409347" y="4945452"/>
            <a:ext cx="2702393" cy="823897"/>
          </a:xfrm>
          <a:prstGeom prst="rect">
            <a:avLst/>
          </a:prstGeom>
        </p:spPr>
      </p:pic>
      <p:pic>
        <p:nvPicPr>
          <p:cNvPr id="12" name="Picture 11">
            <a:hlinkClick r:id="rId2"/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8" t="37132" r="2256" b="31910"/>
          <a:stretch/>
        </p:blipFill>
        <p:spPr>
          <a:xfrm>
            <a:off x="6038468" y="5732175"/>
            <a:ext cx="2751827" cy="683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892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LL-Master_en_v2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LL-Master_en_v2" id="{82EC59AB-7798-4AEC-B6ED-FA8D0F397309}" vid="{FD1E4B78-A164-4158-B68D-15F623A0802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LL-Master_en_v2</Template>
  <TotalTime>0</TotalTime>
  <Words>1514</Words>
  <Application>Microsoft Office PowerPoint</Application>
  <PresentationFormat>Widescreen</PresentationFormat>
  <Paragraphs>181</Paragraphs>
  <Slides>1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.SF NS Symbols Regular</vt:lpstr>
      <vt:lpstr>Arial</vt:lpstr>
      <vt:lpstr>Calibri</vt:lpstr>
      <vt:lpstr>Symbol</vt:lpstr>
      <vt:lpstr>Wingdings 3</vt:lpstr>
      <vt:lpstr>HLL-Master_en_v2</vt:lpstr>
      <vt:lpstr>think-cell Folie</vt:lpstr>
      <vt:lpstr>System &amp; Housekeeping Software</vt:lpstr>
      <vt:lpstr>PowerPoint Presentation</vt:lpstr>
      <vt:lpstr>System overview</vt:lpstr>
      <vt:lpstr>Developments of the last monhs</vt:lpstr>
      <vt:lpstr>Polynomial calculus in the server</vt:lpstr>
      <vt:lpstr>Polynomial calculus in the server</vt:lpstr>
      <vt:lpstr>Transition from linear to reactionary data model</vt:lpstr>
      <vt:lpstr>Future Plans – API</vt:lpstr>
      <vt:lpstr>Future Plans – API</vt:lpstr>
      <vt:lpstr>Future Plans – Server/client interface</vt:lpstr>
      <vt:lpstr>Future Plans – End-user interface design</vt:lpstr>
      <vt:lpstr>Thank you for your attention For questions please contact: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ystem &amp; Housekeeping Software</dc:title>
  <dc:creator>Martin Hensel</dc:creator>
  <cp:lastModifiedBy>Martin Hensel</cp:lastModifiedBy>
  <cp:revision>50</cp:revision>
  <dcterms:created xsi:type="dcterms:W3CDTF">2022-12-07T10:22:29Z</dcterms:created>
  <dcterms:modified xsi:type="dcterms:W3CDTF">2022-12-14T15:55:28Z</dcterms:modified>
</cp:coreProperties>
</file>